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6"/>
  </p:notesMasterIdLst>
  <p:sldIdLst>
    <p:sldId id="25937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802BE"/>
    <a:srgbClr val="0099FF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0BA760-2B43-4298-83C5-7893CC90DB8E}" v="6157" dt="2021-09-03T05:40:50.5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1242" autoAdjust="0"/>
  </p:normalViewPr>
  <p:slideViewPr>
    <p:cSldViewPr snapToGrid="0">
      <p:cViewPr varScale="1">
        <p:scale>
          <a:sx n="41" d="100"/>
          <a:sy n="41" d="100"/>
        </p:scale>
        <p:origin x="1310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Chow" userId="55b95bf8-e08b-452a-8e72-e591fec08000" providerId="ADAL" clId="{5B0BA760-2B43-4298-83C5-7893CC90DB8E}"/>
    <pc:docChg chg="undo custSel modSld">
      <pc:chgData name="Daniel Chow" userId="55b95bf8-e08b-452a-8e72-e591fec08000" providerId="ADAL" clId="{5B0BA760-2B43-4298-83C5-7893CC90DB8E}" dt="2021-08-29T08:21:25.445" v="57" actId="1037"/>
      <pc:docMkLst>
        <pc:docMk/>
      </pc:docMkLst>
      <pc:sldChg chg="addSp delSp modSp mod">
        <pc:chgData name="Daniel Chow" userId="55b95bf8-e08b-452a-8e72-e591fec08000" providerId="ADAL" clId="{5B0BA760-2B43-4298-83C5-7893CC90DB8E}" dt="2021-08-29T08:21:25.445" v="57" actId="1037"/>
        <pc:sldMkLst>
          <pc:docMk/>
          <pc:sldMk cId="0" sldId="278"/>
        </pc:sldMkLst>
        <pc:spChg chg="del">
          <ac:chgData name="Daniel Chow" userId="55b95bf8-e08b-452a-8e72-e591fec08000" providerId="ADAL" clId="{5B0BA760-2B43-4298-83C5-7893CC90DB8E}" dt="2021-08-29T08:14:28.962" v="0" actId="478"/>
          <ac:spMkLst>
            <pc:docMk/>
            <pc:sldMk cId="0" sldId="278"/>
            <ac:spMk id="3" creationId="{10D0066C-0A7E-4C12-B82E-76471026EEC1}"/>
          </ac:spMkLst>
        </pc:spChg>
        <pc:spChg chg="mod">
          <ac:chgData name="Daniel Chow" userId="55b95bf8-e08b-452a-8e72-e591fec08000" providerId="ADAL" clId="{5B0BA760-2B43-4298-83C5-7893CC90DB8E}" dt="2021-08-29T08:20:14.916" v="37" actId="1076"/>
          <ac:spMkLst>
            <pc:docMk/>
            <pc:sldMk cId="0" sldId="278"/>
            <ac:spMk id="9" creationId="{2A3AF55E-4407-4344-A0D8-BC5070B44B43}"/>
          </ac:spMkLst>
        </pc:spChg>
        <pc:picChg chg="mod">
          <ac:chgData name="Daniel Chow" userId="55b95bf8-e08b-452a-8e72-e591fec08000" providerId="ADAL" clId="{5B0BA760-2B43-4298-83C5-7893CC90DB8E}" dt="2021-08-29T08:21:25.445" v="57" actId="1037"/>
          <ac:picMkLst>
            <pc:docMk/>
            <pc:sldMk cId="0" sldId="278"/>
            <ac:picMk id="4" creationId="{ACC7AEBD-1847-43D3-885F-FFBECEE94887}"/>
          </ac:picMkLst>
        </pc:picChg>
        <pc:picChg chg="add del mod">
          <ac:chgData name="Daniel Chow" userId="55b95bf8-e08b-452a-8e72-e591fec08000" providerId="ADAL" clId="{5B0BA760-2B43-4298-83C5-7893CC90DB8E}" dt="2021-08-29T08:20:49.001" v="47" actId="478"/>
          <ac:picMkLst>
            <pc:docMk/>
            <pc:sldMk cId="0" sldId="278"/>
            <ac:picMk id="6" creationId="{CA4EC954-517A-4E5B-A8FD-0F169EF2DF67}"/>
          </ac:picMkLst>
        </pc:picChg>
        <pc:picChg chg="add del mod">
          <ac:chgData name="Daniel Chow" userId="55b95bf8-e08b-452a-8e72-e591fec08000" providerId="ADAL" clId="{5B0BA760-2B43-4298-83C5-7893CC90DB8E}" dt="2021-08-29T08:20:40.681" v="43" actId="478"/>
          <ac:picMkLst>
            <pc:docMk/>
            <pc:sldMk cId="0" sldId="278"/>
            <ac:picMk id="8" creationId="{CB13F9DF-D11C-46AF-AF3F-57C747EEE805}"/>
          </ac:picMkLst>
        </pc:picChg>
        <pc:picChg chg="add del mod">
          <ac:chgData name="Daniel Chow" userId="55b95bf8-e08b-452a-8e72-e591fec08000" providerId="ADAL" clId="{5B0BA760-2B43-4298-83C5-7893CC90DB8E}" dt="2021-08-29T08:20:39.604" v="42" actId="478"/>
          <ac:picMkLst>
            <pc:docMk/>
            <pc:sldMk cId="0" sldId="278"/>
            <ac:picMk id="13" creationId="{4C261A5D-CD79-48D5-89E2-B36B4E627198}"/>
          </ac:picMkLst>
        </pc:picChg>
      </pc:sldChg>
    </pc:docChg>
  </pc:docChgLst>
  <pc:docChgLst>
    <pc:chgData name="Chow, Daniel" userId="55b95bf8-e08b-452a-8e72-e591fec08000" providerId="ADAL" clId="{5B0BA760-2B43-4298-83C5-7893CC90DB8E}"/>
    <pc:docChg chg="undo custSel addSld delSld modSld sldOrd replTag">
      <pc:chgData name="Chow, Daniel" userId="55b95bf8-e08b-452a-8e72-e591fec08000" providerId="ADAL" clId="{5B0BA760-2B43-4298-83C5-7893CC90DB8E}" dt="2021-09-03T05:21:27.960" v="20562" actId="47"/>
      <pc:docMkLst>
        <pc:docMk/>
      </pc:docMkLst>
      <pc:sldChg chg="addSp delSp modSp add del mod ord">
        <pc:chgData name="Chow, Daniel" userId="55b95bf8-e08b-452a-8e72-e591fec08000" providerId="ADAL" clId="{5B0BA760-2B43-4298-83C5-7893CC90DB8E}" dt="2021-09-03T05:21:27.960" v="20562" actId="47"/>
        <pc:sldMkLst>
          <pc:docMk/>
          <pc:sldMk cId="0" sldId="278"/>
        </pc:sldMkLst>
        <pc:spChg chg="add mod">
          <ac:chgData name="Chow, Daniel" userId="55b95bf8-e08b-452a-8e72-e591fec08000" providerId="ADAL" clId="{5B0BA760-2B43-4298-83C5-7893CC90DB8E}" dt="2021-08-28T11:41:39.396" v="4233" actId="2711"/>
          <ac:spMkLst>
            <pc:docMk/>
            <pc:sldMk cId="0" sldId="278"/>
            <ac:spMk id="3" creationId="{10D0066C-0A7E-4C12-B82E-76471026EEC1}"/>
          </ac:spMkLst>
        </pc:spChg>
        <pc:spChg chg="add mod ord">
          <ac:chgData name="Chow, Daniel" userId="55b95bf8-e08b-452a-8e72-e591fec08000" providerId="ADAL" clId="{5B0BA760-2B43-4298-83C5-7893CC90DB8E}" dt="2021-08-28T09:47:29.892" v="3738" actId="14100"/>
          <ac:spMkLst>
            <pc:docMk/>
            <pc:sldMk cId="0" sldId="278"/>
            <ac:spMk id="9" creationId="{2A3AF55E-4407-4344-A0D8-BC5070B44B43}"/>
          </ac:spMkLst>
        </pc:spChg>
        <pc:spChg chg="add mod ord">
          <ac:chgData name="Chow, Daniel" userId="55b95bf8-e08b-452a-8e72-e591fec08000" providerId="ADAL" clId="{5B0BA760-2B43-4298-83C5-7893CC90DB8E}" dt="2021-08-28T09:46:06.771" v="3725"/>
          <ac:spMkLst>
            <pc:docMk/>
            <pc:sldMk cId="0" sldId="278"/>
            <ac:spMk id="11" creationId="{B80285C0-F2F2-4482-8F5E-EA6E8111BE63}"/>
          </ac:spMkLst>
        </pc:spChg>
        <pc:spChg chg="add mod ord">
          <ac:chgData name="Chow, Daniel" userId="55b95bf8-e08b-452a-8e72-e591fec08000" providerId="ADAL" clId="{5B0BA760-2B43-4298-83C5-7893CC90DB8E}" dt="2021-08-28T09:46:06.771" v="3727"/>
          <ac:spMkLst>
            <pc:docMk/>
            <pc:sldMk cId="0" sldId="278"/>
            <ac:spMk id="12" creationId="{F09A1624-66BB-4FF5-ADF7-6D4AFD2B9752}"/>
          </ac:spMkLst>
        </pc:spChg>
        <pc:spChg chg="del">
          <ac:chgData name="Chow, Daniel" userId="55b95bf8-e08b-452a-8e72-e591fec08000" providerId="ADAL" clId="{5B0BA760-2B43-4298-83C5-7893CC90DB8E}" dt="2021-08-27T05:51:34.293" v="306" actId="478"/>
          <ac:spMkLst>
            <pc:docMk/>
            <pc:sldMk cId="0" sldId="278"/>
            <ac:spMk id="344" creationId="{00000000-0000-0000-0000-000000000000}"/>
          </ac:spMkLst>
        </pc:spChg>
        <pc:spChg chg="del mod ord">
          <ac:chgData name="Chow, Daniel" userId="55b95bf8-e08b-452a-8e72-e591fec08000" providerId="ADAL" clId="{5B0BA760-2B43-4298-83C5-7893CC90DB8E}" dt="2021-08-27T05:56:04.012" v="391" actId="478"/>
          <ac:spMkLst>
            <pc:docMk/>
            <pc:sldMk cId="0" sldId="278"/>
            <ac:spMk id="345" creationId="{00000000-0000-0000-0000-000000000000}"/>
          </ac:spMkLst>
        </pc:spChg>
        <pc:spChg chg="del mod">
          <ac:chgData name="Chow, Daniel" userId="55b95bf8-e08b-452a-8e72-e591fec08000" providerId="ADAL" clId="{5B0BA760-2B43-4298-83C5-7893CC90DB8E}" dt="2021-08-27T05:53:22.389" v="332" actId="478"/>
          <ac:spMkLst>
            <pc:docMk/>
            <pc:sldMk cId="0" sldId="278"/>
            <ac:spMk id="346" creationId="{00000000-0000-0000-0000-000000000000}"/>
          </ac:spMkLst>
        </pc:spChg>
        <pc:spChg chg="mod ord">
          <ac:chgData name="Chow, Daniel" userId="55b95bf8-e08b-452a-8e72-e591fec08000" providerId="ADAL" clId="{5B0BA760-2B43-4298-83C5-7893CC90DB8E}" dt="2021-08-28T09:46:06.771" v="3721"/>
          <ac:spMkLst>
            <pc:docMk/>
            <pc:sldMk cId="0" sldId="278"/>
            <ac:spMk id="347" creationId="{00000000-0000-0000-0000-000000000000}"/>
          </ac:spMkLst>
        </pc:spChg>
        <pc:spChg chg="del mod">
          <ac:chgData name="Chow, Daniel" userId="55b95bf8-e08b-452a-8e72-e591fec08000" providerId="ADAL" clId="{5B0BA760-2B43-4298-83C5-7893CC90DB8E}" dt="2021-08-27T05:53:22.389" v="332" actId="478"/>
          <ac:spMkLst>
            <pc:docMk/>
            <pc:sldMk cId="0" sldId="278"/>
            <ac:spMk id="348" creationId="{00000000-0000-0000-0000-000000000000}"/>
          </ac:spMkLst>
        </pc:spChg>
        <pc:graphicFrameChg chg="add mod ord modVis replST">
          <ac:chgData name="Chow, Daniel" userId="55b95bf8-e08b-452a-8e72-e591fec08000" providerId="ADAL" clId="{5B0BA760-2B43-4298-83C5-7893CC90DB8E}" dt="2021-08-28T09:46:06.771" v="3730"/>
          <ac:graphicFrameMkLst>
            <pc:docMk/>
            <pc:sldMk cId="0" sldId="278"/>
            <ac:graphicFrameMk id="2" creationId="{F17D5009-C08B-4709-A090-64EF540C41E5}"/>
          </ac:graphicFrameMkLst>
        </pc:graphicFrameChg>
        <pc:picChg chg="add mod ord">
          <ac:chgData name="Chow, Daniel" userId="55b95bf8-e08b-452a-8e72-e591fec08000" providerId="ADAL" clId="{5B0BA760-2B43-4298-83C5-7893CC90DB8E}" dt="2021-08-28T09:47:31.980" v="3739" actId="14100"/>
          <ac:picMkLst>
            <pc:docMk/>
            <pc:sldMk cId="0" sldId="278"/>
            <ac:picMk id="4" creationId="{ACC7AEBD-1847-43D3-885F-FFBECEE94887}"/>
          </ac:picMkLst>
        </pc:picChg>
        <pc:picChg chg="add del">
          <ac:chgData name="Chow, Daniel" userId="55b95bf8-e08b-452a-8e72-e591fec08000" providerId="ADAL" clId="{5B0BA760-2B43-4298-83C5-7893CC90DB8E}" dt="2021-08-30T03:53:37.184" v="8755" actId="478"/>
          <ac:picMkLst>
            <pc:docMk/>
            <pc:sldMk cId="0" sldId="278"/>
            <ac:picMk id="5" creationId="{AC4987A9-8BC4-442E-9A08-38975B8E5C2C}"/>
          </ac:picMkLst>
        </pc:picChg>
        <pc:picChg chg="add del mod">
          <ac:chgData name="Chow, Daniel" userId="55b95bf8-e08b-452a-8e72-e591fec08000" providerId="ADAL" clId="{5B0BA760-2B43-4298-83C5-7893CC90DB8E}" dt="2021-08-28T09:45:55.271" v="3713" actId="478"/>
          <ac:picMkLst>
            <pc:docMk/>
            <pc:sldMk cId="0" sldId="278"/>
            <ac:picMk id="7" creationId="{FF01A922-8E85-4F15-803D-A098B34A87C1}"/>
          </ac:picMkLst>
        </pc:picChg>
        <pc:picChg chg="add del mod ord">
          <ac:chgData name="Chow, Daniel" userId="55b95bf8-e08b-452a-8e72-e591fec08000" providerId="ADAL" clId="{5B0BA760-2B43-4298-83C5-7893CC90DB8E}" dt="2021-08-27T05:53:59.529" v="363" actId="478"/>
          <ac:picMkLst>
            <pc:docMk/>
            <pc:sldMk cId="0" sldId="278"/>
            <ac:picMk id="10" creationId="{40460A4F-19FC-4694-BD3B-B34DDF3271FD}"/>
          </ac:picMkLst>
        </pc:picChg>
        <pc:picChg chg="del">
          <ac:chgData name="Chow, Daniel" userId="55b95bf8-e08b-452a-8e72-e591fec08000" providerId="ADAL" clId="{5B0BA760-2B43-4298-83C5-7893CC90DB8E}" dt="2021-08-27T05:51:20.016" v="301" actId="478"/>
          <ac:picMkLst>
            <pc:docMk/>
            <pc:sldMk cId="0" sldId="278"/>
            <ac:picMk id="343" creationId="{00000000-0000-0000-0000-000000000000}"/>
          </ac:picMkLst>
        </pc:picChg>
      </pc:sldChg>
      <pc:sldChg chg="del modNotesTx">
        <pc:chgData name="Chow, Daniel" userId="55b95bf8-e08b-452a-8e72-e591fec08000" providerId="ADAL" clId="{5B0BA760-2B43-4298-83C5-7893CC90DB8E}" dt="2021-09-03T05:21:27.960" v="20562" actId="47"/>
        <pc:sldMkLst>
          <pc:docMk/>
          <pc:sldMk cId="193143965" sldId="298"/>
        </pc:sldMkLst>
      </pc:sldChg>
      <pc:sldChg chg="addSp delSp modSp del mod setBg modNotesTx">
        <pc:chgData name="Chow, Daniel" userId="55b95bf8-e08b-452a-8e72-e591fec08000" providerId="ADAL" clId="{5B0BA760-2B43-4298-83C5-7893CC90DB8E}" dt="2021-09-03T05:21:27.960" v="20562" actId="47"/>
        <pc:sldMkLst>
          <pc:docMk/>
          <pc:sldMk cId="3507882593" sldId="299"/>
        </pc:sldMkLst>
        <pc:spChg chg="mod">
          <ac:chgData name="Chow, Daniel" userId="55b95bf8-e08b-452a-8e72-e591fec08000" providerId="ADAL" clId="{5B0BA760-2B43-4298-83C5-7893CC90DB8E}" dt="2021-08-27T08:31:34.021" v="742" actId="403"/>
          <ac:spMkLst>
            <pc:docMk/>
            <pc:sldMk cId="3507882593" sldId="299"/>
            <ac:spMk id="5" creationId="{4D948737-EE5E-4C67-9978-F19CC2400565}"/>
          </ac:spMkLst>
        </pc:spChg>
        <pc:spChg chg="mod">
          <ac:chgData name="Chow, Daniel" userId="55b95bf8-e08b-452a-8e72-e591fec08000" providerId="ADAL" clId="{5B0BA760-2B43-4298-83C5-7893CC90DB8E}" dt="2021-08-28T04:52:39.110" v="2072" actId="13926"/>
          <ac:spMkLst>
            <pc:docMk/>
            <pc:sldMk cId="3507882593" sldId="299"/>
            <ac:spMk id="6" creationId="{052EB3D4-70B5-47EB-9A31-4F96E5D4D00E}"/>
          </ac:spMkLst>
        </pc:spChg>
        <pc:spChg chg="mod">
          <ac:chgData name="Chow, Daniel" userId="55b95bf8-e08b-452a-8e72-e591fec08000" providerId="ADAL" clId="{5B0BA760-2B43-4298-83C5-7893CC90DB8E}" dt="2021-08-27T08:31:40.742" v="744" actId="403"/>
          <ac:spMkLst>
            <pc:docMk/>
            <pc:sldMk cId="3507882593" sldId="299"/>
            <ac:spMk id="10" creationId="{E43538B5-D7FB-4BFC-A470-D466646D9088}"/>
          </ac:spMkLst>
        </pc:spChg>
        <pc:spChg chg="mod">
          <ac:chgData name="Chow, Daniel" userId="55b95bf8-e08b-452a-8e72-e591fec08000" providerId="ADAL" clId="{5B0BA760-2B43-4298-83C5-7893CC90DB8E}" dt="2021-08-28T06:37:08.051" v="2328" actId="20577"/>
          <ac:spMkLst>
            <pc:docMk/>
            <pc:sldMk cId="3507882593" sldId="299"/>
            <ac:spMk id="15" creationId="{863D183D-00BD-49EA-B289-0F9C64DD2CB8}"/>
          </ac:spMkLst>
        </pc:spChg>
        <pc:spChg chg="mod">
          <ac:chgData name="Chow, Daniel" userId="55b95bf8-e08b-452a-8e72-e591fec08000" providerId="ADAL" clId="{5B0BA760-2B43-4298-83C5-7893CC90DB8E}" dt="2021-08-27T08:31:49.990" v="748" actId="403"/>
          <ac:spMkLst>
            <pc:docMk/>
            <pc:sldMk cId="3507882593" sldId="299"/>
            <ac:spMk id="20" creationId="{11A30A4F-F1D2-4BC2-AB2B-2154B03EEF4E}"/>
          </ac:spMkLst>
        </pc:spChg>
        <pc:spChg chg="mod">
          <ac:chgData name="Chow, Daniel" userId="55b95bf8-e08b-452a-8e72-e591fec08000" providerId="ADAL" clId="{5B0BA760-2B43-4298-83C5-7893CC90DB8E}" dt="2021-08-27T08:31:55.749" v="750" actId="403"/>
          <ac:spMkLst>
            <pc:docMk/>
            <pc:sldMk cId="3507882593" sldId="299"/>
            <ac:spMk id="25" creationId="{BA8D14DF-13C1-4468-AEA9-4EB04CC13C8C}"/>
          </ac:spMkLst>
        </pc:spChg>
        <pc:spChg chg="mod ord">
          <ac:chgData name="Chow, Daniel" userId="55b95bf8-e08b-452a-8e72-e591fec08000" providerId="ADAL" clId="{5B0BA760-2B43-4298-83C5-7893CC90DB8E}" dt="2021-08-27T05:56:36.695" v="416"/>
          <ac:spMkLst>
            <pc:docMk/>
            <pc:sldMk cId="3507882593" sldId="299"/>
            <ac:spMk id="40" creationId="{447C7108-5217-4CC8-A557-C124949439AD}"/>
          </ac:spMkLst>
        </pc:spChg>
        <pc:spChg chg="mod ord">
          <ac:chgData name="Chow, Daniel" userId="55b95bf8-e08b-452a-8e72-e591fec08000" providerId="ADAL" clId="{5B0BA760-2B43-4298-83C5-7893CC90DB8E}" dt="2021-08-27T05:56:36.695" v="418"/>
          <ac:spMkLst>
            <pc:docMk/>
            <pc:sldMk cId="3507882593" sldId="299"/>
            <ac:spMk id="44" creationId="{59301ECD-394D-4188-88D0-72B3AA7A7A3F}"/>
          </ac:spMkLst>
        </pc:spChg>
        <pc:spChg chg="add mod ord">
          <ac:chgData name="Chow, Daniel" userId="55b95bf8-e08b-452a-8e72-e591fec08000" providerId="ADAL" clId="{5B0BA760-2B43-4298-83C5-7893CC90DB8E}" dt="2021-08-27T05:56:36.695" v="420"/>
          <ac:spMkLst>
            <pc:docMk/>
            <pc:sldMk cId="3507882593" sldId="299"/>
            <ac:spMk id="45" creationId="{F5B6DAB8-C366-4B01-A905-23BC1B5C8D97}"/>
          </ac:spMkLst>
        </pc:spChg>
        <pc:spChg chg="add mod ord">
          <ac:chgData name="Chow, Daniel" userId="55b95bf8-e08b-452a-8e72-e591fec08000" providerId="ADAL" clId="{5B0BA760-2B43-4298-83C5-7893CC90DB8E}" dt="2021-08-27T05:57:00.882" v="426" actId="207"/>
          <ac:spMkLst>
            <pc:docMk/>
            <pc:sldMk cId="3507882593" sldId="299"/>
            <ac:spMk id="46" creationId="{2516F30B-55B8-4F9F-9CFE-19931A47D52D}"/>
          </ac:spMkLst>
        </pc:spChg>
        <pc:grpChg chg="mod ord">
          <ac:chgData name="Chow, Daniel" userId="55b95bf8-e08b-452a-8e72-e591fec08000" providerId="ADAL" clId="{5B0BA760-2B43-4298-83C5-7893CC90DB8E}" dt="2021-08-27T05:56:36.695" v="404"/>
          <ac:grpSpMkLst>
            <pc:docMk/>
            <pc:sldMk cId="3507882593" sldId="299"/>
            <ac:grpSpMk id="3" creationId="{705F7FBA-9531-4EA4-9989-649DF85985CF}"/>
          </ac:grpSpMkLst>
        </pc:grpChg>
        <pc:grpChg chg="mod ord">
          <ac:chgData name="Chow, Daniel" userId="55b95bf8-e08b-452a-8e72-e591fec08000" providerId="ADAL" clId="{5B0BA760-2B43-4298-83C5-7893CC90DB8E}" dt="2021-08-27T05:56:36.695" v="406"/>
          <ac:grpSpMkLst>
            <pc:docMk/>
            <pc:sldMk cId="3507882593" sldId="299"/>
            <ac:grpSpMk id="8" creationId="{459620D5-0EA2-4D65-82C3-20C63A94804A}"/>
          </ac:grpSpMkLst>
        </pc:grpChg>
        <pc:grpChg chg="mod ord">
          <ac:chgData name="Chow, Daniel" userId="55b95bf8-e08b-452a-8e72-e591fec08000" providerId="ADAL" clId="{5B0BA760-2B43-4298-83C5-7893CC90DB8E}" dt="2021-08-27T05:56:36.695" v="408"/>
          <ac:grpSpMkLst>
            <pc:docMk/>
            <pc:sldMk cId="3507882593" sldId="299"/>
            <ac:grpSpMk id="13" creationId="{13A8BE50-3BDE-49BD-9373-C6F54F0559AD}"/>
          </ac:grpSpMkLst>
        </pc:grpChg>
        <pc:grpChg chg="mod ord">
          <ac:chgData name="Chow, Daniel" userId="55b95bf8-e08b-452a-8e72-e591fec08000" providerId="ADAL" clId="{5B0BA760-2B43-4298-83C5-7893CC90DB8E}" dt="2021-08-27T05:56:36.695" v="410"/>
          <ac:grpSpMkLst>
            <pc:docMk/>
            <pc:sldMk cId="3507882593" sldId="299"/>
            <ac:grpSpMk id="18" creationId="{7183E058-2AD4-4D36-88F2-4765EA0E22AC}"/>
          </ac:grpSpMkLst>
        </pc:grpChg>
        <pc:grpChg chg="mod ord">
          <ac:chgData name="Chow, Daniel" userId="55b95bf8-e08b-452a-8e72-e591fec08000" providerId="ADAL" clId="{5B0BA760-2B43-4298-83C5-7893CC90DB8E}" dt="2021-08-27T05:56:36.695" v="412"/>
          <ac:grpSpMkLst>
            <pc:docMk/>
            <pc:sldMk cId="3507882593" sldId="299"/>
            <ac:grpSpMk id="23" creationId="{AA01F9EF-B6D7-4A18-9780-C790A921B589}"/>
          </ac:grpSpMkLst>
        </pc:grpChg>
        <pc:graphicFrameChg chg="mod">
          <ac:chgData name="Chow, Daniel" userId="55b95bf8-e08b-452a-8e72-e591fec08000" providerId="ADAL" clId="{5B0BA760-2B43-4298-83C5-7893CC90DB8E}" dt="2021-08-27T05:56:36.708" v="423"/>
          <ac:graphicFrameMkLst>
            <pc:docMk/>
            <pc:sldMk cId="3507882593" sldId="299"/>
            <ac:graphicFrameMk id="31" creationId="{EBC077DF-B1E4-484C-98A3-8570C24A382B}"/>
          </ac:graphicFrameMkLst>
        </pc:graphicFrameChg>
        <pc:picChg chg="add del mod ord">
          <ac:chgData name="Chow, Daniel" userId="55b95bf8-e08b-452a-8e72-e591fec08000" providerId="ADAL" clId="{5B0BA760-2B43-4298-83C5-7893CC90DB8E}" dt="2021-08-28T04:52:40.198" v="2073" actId="21"/>
          <ac:picMkLst>
            <pc:docMk/>
            <pc:sldMk cId="3507882593" sldId="299"/>
            <ac:picMk id="32" creationId="{0B298C7B-67A4-42D2-98F3-EABC8E49F211}"/>
          </ac:picMkLst>
        </pc:picChg>
        <pc:cxnChg chg="mod ord">
          <ac:chgData name="Chow, Daniel" userId="55b95bf8-e08b-452a-8e72-e591fec08000" providerId="ADAL" clId="{5B0BA760-2B43-4298-83C5-7893CC90DB8E}" dt="2021-08-27T05:56:36.695" v="414"/>
          <ac:cxnSpMkLst>
            <pc:docMk/>
            <pc:sldMk cId="3507882593" sldId="299"/>
            <ac:cxnSpMk id="39" creationId="{FD13841D-8F84-458A-959B-49D42128A56D}"/>
          </ac:cxnSpMkLst>
        </pc:cxnChg>
      </pc:sldChg>
      <pc:sldChg chg="addSp delSp modSp del mod modNotesTx">
        <pc:chgData name="Chow, Daniel" userId="55b95bf8-e08b-452a-8e72-e591fec08000" providerId="ADAL" clId="{5B0BA760-2B43-4298-83C5-7893CC90DB8E}" dt="2021-09-03T05:21:27.960" v="20562" actId="47"/>
        <pc:sldMkLst>
          <pc:docMk/>
          <pc:sldMk cId="1452704568" sldId="300"/>
        </pc:sldMkLst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16" creationId="{06B13E8D-9402-4606-9AC9-3ACB6773CFF6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17" creationId="{920D132C-C2DE-43A9-B05F-6F14F9CAF568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18" creationId="{F8FFEEC5-A630-4B1F-9796-CB51353D080B}"/>
          </ac:spMkLst>
        </pc:spChg>
        <pc:spChg chg="add del mod">
          <ac:chgData name="Chow, Daniel" userId="55b95bf8-e08b-452a-8e72-e591fec08000" providerId="ADAL" clId="{5B0BA760-2B43-4298-83C5-7893CC90DB8E}" dt="2021-08-29T10:07:10.127" v="4641" actId="478"/>
          <ac:spMkLst>
            <pc:docMk/>
            <pc:sldMk cId="1452704568" sldId="300"/>
            <ac:spMk id="19" creationId="{43501EDF-A399-47B2-8D7F-978D83AD4D4D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19" creationId="{72046523-5C15-4A16-BEFB-B65D1FBCBD56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20" creationId="{E62B457C-205E-4FEF-9F77-14D49F831571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21" creationId="{ECEE0858-BCC5-452D-A33A-D1B25C7BC45A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22" creationId="{373B5061-0E9D-4335-A6D3-651E4A7BC1B3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23" creationId="{BEC9B569-5581-4476-A5B8-23B820488921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24" creationId="{9E9FF0FF-605B-408B-8636-9D52D3D7A2CF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25" creationId="{28CF8746-48E8-4997-B1E1-B47543D5EB1E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26" creationId="{3B60A8C2-ACE4-4DE6-80DE-FB2E0455D37A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27" creationId="{B01851AF-5062-41F9-8451-72FA86EEFE71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28" creationId="{D34A9EC9-43F6-4373-9B96-468F1B8CB6F5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29" creationId="{5ABF6AAF-55BF-4B7A-BD4A-9AE31C538909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30" creationId="{0E48B4C9-BC8D-4339-9F75-91920DE548EF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32" creationId="{CABA5A54-6B1F-4FA4-B398-0212A9BFE713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33" creationId="{38332690-F8F7-447F-A3D4-66B60625F265}"/>
          </ac:spMkLst>
        </pc:spChg>
        <pc:spChg chg="mod">
          <ac:chgData name="Chow, Daniel" userId="55b95bf8-e08b-452a-8e72-e591fec08000" providerId="ADAL" clId="{5B0BA760-2B43-4298-83C5-7893CC90DB8E}" dt="2021-08-30T00:01:57.935" v="7569" actId="20577"/>
          <ac:spMkLst>
            <pc:docMk/>
            <pc:sldMk cId="1452704568" sldId="300"/>
            <ac:spMk id="34" creationId="{8E5EA3FE-863E-4476-8422-C661221DD4AB}"/>
          </ac:spMkLst>
        </pc:spChg>
        <pc:spChg chg="mod">
          <ac:chgData name="Chow, Daniel" userId="55b95bf8-e08b-452a-8e72-e591fec08000" providerId="ADAL" clId="{5B0BA760-2B43-4298-83C5-7893CC90DB8E}" dt="2021-08-29T10:07:13.966" v="4642" actId="1076"/>
          <ac:spMkLst>
            <pc:docMk/>
            <pc:sldMk cId="1452704568" sldId="300"/>
            <ac:spMk id="36" creationId="{4539A0AD-E13A-4743-95CB-3F8CC7BE272C}"/>
          </ac:spMkLst>
        </pc:spChg>
        <pc:spChg chg="mod">
          <ac:chgData name="Chow, Daniel" userId="55b95bf8-e08b-452a-8e72-e591fec08000" providerId="ADAL" clId="{5B0BA760-2B43-4298-83C5-7893CC90DB8E}" dt="2021-08-29T12:10:55.396" v="7186" actId="20577"/>
          <ac:spMkLst>
            <pc:docMk/>
            <pc:sldMk cId="1452704568" sldId="300"/>
            <ac:spMk id="37" creationId="{870D69C9-50D4-4B14-9947-FA47AE158EE8}"/>
          </ac:spMkLst>
        </pc:spChg>
        <pc:spChg chg="add mod">
          <ac:chgData name="Chow, Daniel" userId="55b95bf8-e08b-452a-8e72-e591fec08000" providerId="ADAL" clId="{5B0BA760-2B43-4298-83C5-7893CC90DB8E}" dt="2021-08-27T05:16:24.302" v="41" actId="1076"/>
          <ac:spMkLst>
            <pc:docMk/>
            <pc:sldMk cId="1452704568" sldId="300"/>
            <ac:spMk id="42" creationId="{03D43F72-D690-4DB2-A9A2-B82D44524ABF}"/>
          </ac:spMkLst>
        </pc:spChg>
        <pc:spChg chg="add del mod">
          <ac:chgData name="Chow, Daniel" userId="55b95bf8-e08b-452a-8e72-e591fec08000" providerId="ADAL" clId="{5B0BA760-2B43-4298-83C5-7893CC90DB8E}" dt="2021-08-27T05:55:55.548" v="387" actId="478"/>
          <ac:spMkLst>
            <pc:docMk/>
            <pc:sldMk cId="1452704568" sldId="300"/>
            <ac:spMk id="43" creationId="{37B0F549-21DD-49AA-853D-36C6EEA15305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43" creationId="{F384290D-5CC3-4098-AE51-4FF8F486FD89}"/>
          </ac:spMkLst>
        </pc:spChg>
        <pc:spChg chg="add mod">
          <ac:chgData name="Chow, Daniel" userId="55b95bf8-e08b-452a-8e72-e591fec08000" providerId="ADAL" clId="{5B0BA760-2B43-4298-83C5-7893CC90DB8E}" dt="2021-08-27T05:57:04.715" v="427"/>
          <ac:spMkLst>
            <pc:docMk/>
            <pc:sldMk cId="1452704568" sldId="300"/>
            <ac:spMk id="45" creationId="{C77A3D60-35A9-48CA-982B-33C6EA6F58BB}"/>
          </ac:spMkLst>
        </pc:spChg>
        <pc:spChg chg="add mod">
          <ac:chgData name="Chow, Daniel" userId="55b95bf8-e08b-452a-8e72-e591fec08000" providerId="ADAL" clId="{5B0BA760-2B43-4298-83C5-7893CC90DB8E}" dt="2021-08-27T05:57:04.715" v="427"/>
          <ac:spMkLst>
            <pc:docMk/>
            <pc:sldMk cId="1452704568" sldId="300"/>
            <ac:spMk id="46" creationId="{A631E641-3FFE-4B4B-95B0-5B731F9989D5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47" creationId="{CB701C01-334D-4A9F-8E2C-3C33C3A11AFD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48" creationId="{4E9CA252-527E-4332-BC61-B51DA0D0CBA5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49" creationId="{28021DBE-846A-4D27-945B-9CE264F054DE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50" creationId="{4386CA53-5991-48D6-A103-563ABDDD9F4A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51" creationId="{F322C774-017F-46EA-B68F-C525BB6131AC}"/>
          </ac:spMkLst>
        </pc:spChg>
        <pc:spChg chg="mod">
          <ac:chgData name="Chow, Daniel" userId="55b95bf8-e08b-452a-8e72-e591fec08000" providerId="ADAL" clId="{5B0BA760-2B43-4298-83C5-7893CC90DB8E}" dt="2021-08-28T10:39:54.251" v="3758"/>
          <ac:spMkLst>
            <pc:docMk/>
            <pc:sldMk cId="1452704568" sldId="300"/>
            <ac:spMk id="52" creationId="{FF7984C9-6125-4AC3-81D5-1677BB405A26}"/>
          </ac:spMkLst>
        </pc:spChg>
        <pc:spChg chg="mod">
          <ac:chgData name="Chow, Daniel" userId="55b95bf8-e08b-452a-8e72-e591fec08000" providerId="ADAL" clId="{5B0BA760-2B43-4298-83C5-7893CC90DB8E}" dt="2021-08-28T10:40:08.108" v="3761"/>
          <ac:spMkLst>
            <pc:docMk/>
            <pc:sldMk cId="1452704568" sldId="300"/>
            <ac:spMk id="54" creationId="{D1A85CB3-4ED8-4CD2-936D-7936A4BFB498}"/>
          </ac:spMkLst>
        </pc:spChg>
        <pc:spChg chg="mod">
          <ac:chgData name="Chow, Daniel" userId="55b95bf8-e08b-452a-8e72-e591fec08000" providerId="ADAL" clId="{5B0BA760-2B43-4298-83C5-7893CC90DB8E}" dt="2021-08-28T10:40:08.108" v="3761"/>
          <ac:spMkLst>
            <pc:docMk/>
            <pc:sldMk cId="1452704568" sldId="300"/>
            <ac:spMk id="55" creationId="{24DBA81D-5363-4620-B0BC-6037E003C6AF}"/>
          </ac:spMkLst>
        </pc:spChg>
        <pc:spChg chg="mod">
          <ac:chgData name="Chow, Daniel" userId="55b95bf8-e08b-452a-8e72-e591fec08000" providerId="ADAL" clId="{5B0BA760-2B43-4298-83C5-7893CC90DB8E}" dt="2021-08-28T10:40:08.108" v="3761"/>
          <ac:spMkLst>
            <pc:docMk/>
            <pc:sldMk cId="1452704568" sldId="300"/>
            <ac:spMk id="56" creationId="{969ECA9D-27D5-4FF1-8485-23BF86D3F63C}"/>
          </ac:spMkLst>
        </pc:spChg>
        <pc:spChg chg="mod">
          <ac:chgData name="Chow, Daniel" userId="55b95bf8-e08b-452a-8e72-e591fec08000" providerId="ADAL" clId="{5B0BA760-2B43-4298-83C5-7893CC90DB8E}" dt="2021-08-28T10:40:08.108" v="3761"/>
          <ac:spMkLst>
            <pc:docMk/>
            <pc:sldMk cId="1452704568" sldId="300"/>
            <ac:spMk id="57" creationId="{06EF9E6E-DBF2-41B9-B496-091F4811496B}"/>
          </ac:spMkLst>
        </pc:spChg>
        <pc:spChg chg="mod">
          <ac:chgData name="Chow, Daniel" userId="55b95bf8-e08b-452a-8e72-e591fec08000" providerId="ADAL" clId="{5B0BA760-2B43-4298-83C5-7893CC90DB8E}" dt="2021-08-28T12:03:19.337" v="4284" actId="207"/>
          <ac:spMkLst>
            <pc:docMk/>
            <pc:sldMk cId="1452704568" sldId="300"/>
            <ac:spMk id="59" creationId="{9A2F4B36-3075-4A51-BCF3-445A75AA2F26}"/>
          </ac:spMkLst>
        </pc:spChg>
        <pc:spChg chg="mod">
          <ac:chgData name="Chow, Daniel" userId="55b95bf8-e08b-452a-8e72-e591fec08000" providerId="ADAL" clId="{5B0BA760-2B43-4298-83C5-7893CC90DB8E}" dt="2021-08-28T12:03:19.337" v="4284" actId="207"/>
          <ac:spMkLst>
            <pc:docMk/>
            <pc:sldMk cId="1452704568" sldId="300"/>
            <ac:spMk id="60" creationId="{F9C8F309-187A-4FCF-9936-92B35C529D0D}"/>
          </ac:spMkLst>
        </pc:spChg>
        <pc:spChg chg="mod">
          <ac:chgData name="Chow, Daniel" userId="55b95bf8-e08b-452a-8e72-e591fec08000" providerId="ADAL" clId="{5B0BA760-2B43-4298-83C5-7893CC90DB8E}" dt="2021-08-28T12:03:19.337" v="4284" actId="207"/>
          <ac:spMkLst>
            <pc:docMk/>
            <pc:sldMk cId="1452704568" sldId="300"/>
            <ac:spMk id="61" creationId="{D3D61354-B089-4C65-9F06-0004F85F4FE3}"/>
          </ac:spMkLst>
        </pc:spChg>
        <pc:grpChg chg="add del mod">
          <ac:chgData name="Chow, Daniel" userId="55b95bf8-e08b-452a-8e72-e591fec08000" providerId="ADAL" clId="{5B0BA760-2B43-4298-83C5-7893CC90DB8E}" dt="2021-08-28T10:39:58.481" v="3760" actId="478"/>
          <ac:grpSpMkLst>
            <pc:docMk/>
            <pc:sldMk cId="1452704568" sldId="300"/>
            <ac:grpSpMk id="15" creationId="{60B4E169-DA6F-46FD-AD2D-32B7AC21BAA8}"/>
          </ac:grpSpMkLst>
        </pc:grpChg>
        <pc:grpChg chg="add del mod">
          <ac:chgData name="Chow, Daniel" userId="55b95bf8-e08b-452a-8e72-e591fec08000" providerId="ADAL" clId="{5B0BA760-2B43-4298-83C5-7893CC90DB8E}" dt="2021-08-28T10:40:36.779" v="3784" actId="478"/>
          <ac:grpSpMkLst>
            <pc:docMk/>
            <pc:sldMk cId="1452704568" sldId="300"/>
            <ac:grpSpMk id="53" creationId="{AF5BB0EE-20E2-444C-B1C3-1F74ADA228D6}"/>
          </ac:grpSpMkLst>
        </pc:grpChg>
        <pc:grpChg chg="add mod">
          <ac:chgData name="Chow, Daniel" userId="55b95bf8-e08b-452a-8e72-e591fec08000" providerId="ADAL" clId="{5B0BA760-2B43-4298-83C5-7893CC90DB8E}" dt="2021-08-29T10:07:13.966" v="4642" actId="1076"/>
          <ac:grpSpMkLst>
            <pc:docMk/>
            <pc:sldMk cId="1452704568" sldId="300"/>
            <ac:grpSpMk id="58" creationId="{2D166C9C-BB4F-4C68-B7E2-911C7E0FD2CB}"/>
          </ac:grpSpMkLst>
        </pc:grpChg>
        <pc:picChg chg="mod">
          <ac:chgData name="Chow, Daniel" userId="55b95bf8-e08b-452a-8e72-e591fec08000" providerId="ADAL" clId="{5B0BA760-2B43-4298-83C5-7893CC90DB8E}" dt="2021-08-28T10:40:32.714" v="3783" actId="1035"/>
          <ac:picMkLst>
            <pc:docMk/>
            <pc:sldMk cId="1452704568" sldId="300"/>
            <ac:picMk id="38" creationId="{4581B42C-BCCA-4DFD-A6B0-1306A2D07E8B}"/>
          </ac:picMkLst>
        </pc:picChg>
        <pc:cxnChg chg="mod">
          <ac:chgData name="Chow, Daniel" userId="55b95bf8-e08b-452a-8e72-e591fec08000" providerId="ADAL" clId="{5B0BA760-2B43-4298-83C5-7893CC90DB8E}" dt="2021-08-29T10:07:13.966" v="4642" actId="1076"/>
          <ac:cxnSpMkLst>
            <pc:docMk/>
            <pc:sldMk cId="1452704568" sldId="300"/>
            <ac:cxnSpMk id="35" creationId="{DDFFE4DB-309D-454C-813F-88E15EE581A9}"/>
          </ac:cxnSpMkLst>
        </pc:cxnChg>
      </pc:sldChg>
      <pc:sldChg chg="addSp delSp modSp del mod modNotesTx">
        <pc:chgData name="Chow, Daniel" userId="55b95bf8-e08b-452a-8e72-e591fec08000" providerId="ADAL" clId="{5B0BA760-2B43-4298-83C5-7893CC90DB8E}" dt="2021-09-03T05:21:27.960" v="20562" actId="47"/>
        <pc:sldMkLst>
          <pc:docMk/>
          <pc:sldMk cId="1231409087" sldId="302"/>
        </pc:sldMkLst>
        <pc:spChg chg="add mod">
          <ac:chgData name="Chow, Daniel" userId="55b95bf8-e08b-452a-8e72-e591fec08000" providerId="ADAL" clId="{5B0BA760-2B43-4298-83C5-7893CC90DB8E}" dt="2021-08-28T06:52:56.310" v="2472" actId="14100"/>
          <ac:spMkLst>
            <pc:docMk/>
            <pc:sldMk cId="1231409087" sldId="302"/>
            <ac:spMk id="2" creationId="{5A9E095F-85A9-48C0-ADA4-6011F7A3228A}"/>
          </ac:spMkLst>
        </pc:spChg>
        <pc:spChg chg="mod topLvl">
          <ac:chgData name="Chow, Daniel" userId="55b95bf8-e08b-452a-8e72-e591fec08000" providerId="ADAL" clId="{5B0BA760-2B43-4298-83C5-7893CC90DB8E}" dt="2021-08-28T06:49:02.083" v="2440" actId="1076"/>
          <ac:spMkLst>
            <pc:docMk/>
            <pc:sldMk cId="1231409087" sldId="302"/>
            <ac:spMk id="34" creationId="{E5AE161B-B216-4D50-ABB0-B647C5C2FB2E}"/>
          </ac:spMkLst>
        </pc:spChg>
        <pc:spChg chg="mod">
          <ac:chgData name="Chow, Daniel" userId="55b95bf8-e08b-452a-8e72-e591fec08000" providerId="ADAL" clId="{5B0BA760-2B43-4298-83C5-7893CC90DB8E}" dt="2021-08-29T10:07:05.817" v="4640" actId="1076"/>
          <ac:spMkLst>
            <pc:docMk/>
            <pc:sldMk cId="1231409087" sldId="302"/>
            <ac:spMk id="36" creationId="{4539A0AD-E13A-4743-95CB-3F8CC7BE272C}"/>
          </ac:spMkLst>
        </pc:spChg>
        <pc:spChg chg="mod topLvl">
          <ac:chgData name="Chow, Daniel" userId="55b95bf8-e08b-452a-8e72-e591fec08000" providerId="ADAL" clId="{5B0BA760-2B43-4298-83C5-7893CC90DB8E}" dt="2021-08-28T06:49:02.083" v="2440" actId="1076"/>
          <ac:spMkLst>
            <pc:docMk/>
            <pc:sldMk cId="1231409087" sldId="302"/>
            <ac:spMk id="38" creationId="{53C1D211-3F9B-42BA-86F1-2B8578B66EC8}"/>
          </ac:spMkLst>
        </pc:spChg>
        <pc:spChg chg="mod">
          <ac:chgData name="Chow, Daniel" userId="55b95bf8-e08b-452a-8e72-e591fec08000" providerId="ADAL" clId="{5B0BA760-2B43-4298-83C5-7893CC90DB8E}" dt="2021-08-28T06:52:26.798" v="2468" actId="14861"/>
          <ac:spMkLst>
            <pc:docMk/>
            <pc:sldMk cId="1231409087" sldId="302"/>
            <ac:spMk id="43" creationId="{87FD1AE6-9B1C-4EBC-ABD8-A26D3377E5ED}"/>
          </ac:spMkLst>
        </pc:spChg>
        <pc:spChg chg="mod topLvl">
          <ac:chgData name="Chow, Daniel" userId="55b95bf8-e08b-452a-8e72-e591fec08000" providerId="ADAL" clId="{5B0BA760-2B43-4298-83C5-7893CC90DB8E}" dt="2021-08-28T06:49:02.083" v="2440" actId="1076"/>
          <ac:spMkLst>
            <pc:docMk/>
            <pc:sldMk cId="1231409087" sldId="302"/>
            <ac:spMk id="46" creationId="{061641FF-7C7A-4B21-B0FF-5BDB7AF6EF14}"/>
          </ac:spMkLst>
        </pc:spChg>
        <pc:spChg chg="mod topLvl">
          <ac:chgData name="Chow, Daniel" userId="55b95bf8-e08b-452a-8e72-e591fec08000" providerId="ADAL" clId="{5B0BA760-2B43-4298-83C5-7893CC90DB8E}" dt="2021-08-28T06:49:02.083" v="2440" actId="1076"/>
          <ac:spMkLst>
            <pc:docMk/>
            <pc:sldMk cId="1231409087" sldId="302"/>
            <ac:spMk id="48" creationId="{17B585B2-CC7C-4D44-A445-DFD1EF3CF0D0}"/>
          </ac:spMkLst>
        </pc:spChg>
        <pc:spChg chg="mod topLvl">
          <ac:chgData name="Chow, Daniel" userId="55b95bf8-e08b-452a-8e72-e591fec08000" providerId="ADAL" clId="{5B0BA760-2B43-4298-83C5-7893CC90DB8E}" dt="2021-08-28T06:49:02.083" v="2440" actId="1076"/>
          <ac:spMkLst>
            <pc:docMk/>
            <pc:sldMk cId="1231409087" sldId="302"/>
            <ac:spMk id="50" creationId="{668FD328-CC3D-42EA-AAE3-888D78021ABB}"/>
          </ac:spMkLst>
        </pc:spChg>
        <pc:spChg chg="mod topLvl">
          <ac:chgData name="Chow, Daniel" userId="55b95bf8-e08b-452a-8e72-e591fec08000" providerId="ADAL" clId="{5B0BA760-2B43-4298-83C5-7893CC90DB8E}" dt="2021-08-28T06:49:02.083" v="2440" actId="1076"/>
          <ac:spMkLst>
            <pc:docMk/>
            <pc:sldMk cId="1231409087" sldId="302"/>
            <ac:spMk id="52" creationId="{A99AD6D5-8666-46B1-9174-868D732EFF37}"/>
          </ac:spMkLst>
        </pc:spChg>
        <pc:spChg chg="mod topLvl">
          <ac:chgData name="Chow, Daniel" userId="55b95bf8-e08b-452a-8e72-e591fec08000" providerId="ADAL" clId="{5B0BA760-2B43-4298-83C5-7893CC90DB8E}" dt="2021-08-28T06:51:53.164" v="2465" actId="14861"/>
          <ac:spMkLst>
            <pc:docMk/>
            <pc:sldMk cId="1231409087" sldId="302"/>
            <ac:spMk id="54" creationId="{C9EB98B3-1823-4BAD-A838-5D477D472FA5}"/>
          </ac:spMkLst>
        </pc:spChg>
        <pc:spChg chg="mod topLvl">
          <ac:chgData name="Chow, Daniel" userId="55b95bf8-e08b-452a-8e72-e591fec08000" providerId="ADAL" clId="{5B0BA760-2B43-4298-83C5-7893CC90DB8E}" dt="2021-08-28T06:52:05.864" v="2466" actId="14861"/>
          <ac:spMkLst>
            <pc:docMk/>
            <pc:sldMk cId="1231409087" sldId="302"/>
            <ac:spMk id="55" creationId="{A01B0B4D-CF99-4C64-9311-B8455B825183}"/>
          </ac:spMkLst>
        </pc:spChg>
        <pc:spChg chg="mod topLvl">
          <ac:chgData name="Chow, Daniel" userId="55b95bf8-e08b-452a-8e72-e591fec08000" providerId="ADAL" clId="{5B0BA760-2B43-4298-83C5-7893CC90DB8E}" dt="2021-08-28T06:52:05.864" v="2466" actId="14861"/>
          <ac:spMkLst>
            <pc:docMk/>
            <pc:sldMk cId="1231409087" sldId="302"/>
            <ac:spMk id="56" creationId="{977165A4-C830-4586-BDAF-518A895489C5}"/>
          </ac:spMkLst>
        </pc:spChg>
        <pc:spChg chg="mod topLvl">
          <ac:chgData name="Chow, Daniel" userId="55b95bf8-e08b-452a-8e72-e591fec08000" providerId="ADAL" clId="{5B0BA760-2B43-4298-83C5-7893CC90DB8E}" dt="2021-08-28T06:52:05.864" v="2466" actId="14861"/>
          <ac:spMkLst>
            <pc:docMk/>
            <pc:sldMk cId="1231409087" sldId="302"/>
            <ac:spMk id="57" creationId="{732665BE-5509-403E-8875-F7F941470D9D}"/>
          </ac:spMkLst>
        </pc:spChg>
        <pc:spChg chg="mod topLvl">
          <ac:chgData name="Chow, Daniel" userId="55b95bf8-e08b-452a-8e72-e591fec08000" providerId="ADAL" clId="{5B0BA760-2B43-4298-83C5-7893CC90DB8E}" dt="2021-08-28T06:52:05.864" v="2466" actId="14861"/>
          <ac:spMkLst>
            <pc:docMk/>
            <pc:sldMk cId="1231409087" sldId="302"/>
            <ac:spMk id="58" creationId="{7C3B311E-F0E2-4848-B43E-C124C5529B09}"/>
          </ac:spMkLst>
        </pc:spChg>
        <pc:spChg chg="mod topLvl">
          <ac:chgData name="Chow, Daniel" userId="55b95bf8-e08b-452a-8e72-e591fec08000" providerId="ADAL" clId="{5B0BA760-2B43-4298-83C5-7893CC90DB8E}" dt="2021-08-28T06:52:05.864" v="2466" actId="14861"/>
          <ac:spMkLst>
            <pc:docMk/>
            <pc:sldMk cId="1231409087" sldId="302"/>
            <ac:spMk id="59" creationId="{66CC8EBA-D579-4A44-BFB9-287D4E593A6E}"/>
          </ac:spMkLst>
        </pc:spChg>
        <pc:spChg chg="mod">
          <ac:chgData name="Chow, Daniel" userId="55b95bf8-e08b-452a-8e72-e591fec08000" providerId="ADAL" clId="{5B0BA760-2B43-4298-83C5-7893CC90DB8E}" dt="2021-08-28T06:49:09.229" v="2443" actId="688"/>
          <ac:spMkLst>
            <pc:docMk/>
            <pc:sldMk cId="1231409087" sldId="302"/>
            <ac:spMk id="60" creationId="{D203DB6F-C072-4497-84F4-765E141FB1D4}"/>
          </ac:spMkLst>
        </pc:spChg>
        <pc:spChg chg="mod topLvl">
          <ac:chgData name="Chow, Daniel" userId="55b95bf8-e08b-452a-8e72-e591fec08000" providerId="ADAL" clId="{5B0BA760-2B43-4298-83C5-7893CC90DB8E}" dt="2021-08-28T06:49:27.374" v="2447" actId="1076"/>
          <ac:spMkLst>
            <pc:docMk/>
            <pc:sldMk cId="1231409087" sldId="302"/>
            <ac:spMk id="61" creationId="{2DF9B1C1-0772-4BEC-A434-9928FC42C6AD}"/>
          </ac:spMkLst>
        </pc:spChg>
        <pc:spChg chg="mod">
          <ac:chgData name="Chow, Daniel" userId="55b95bf8-e08b-452a-8e72-e591fec08000" providerId="ADAL" clId="{5B0BA760-2B43-4298-83C5-7893CC90DB8E}" dt="2021-08-28T06:49:43.012" v="2451" actId="1076"/>
          <ac:spMkLst>
            <pc:docMk/>
            <pc:sldMk cId="1231409087" sldId="302"/>
            <ac:spMk id="62" creationId="{EC8CD0AF-0826-4D0D-B32F-228D935F0932}"/>
          </ac:spMkLst>
        </pc:spChg>
        <pc:spChg chg="mod">
          <ac:chgData name="Chow, Daniel" userId="55b95bf8-e08b-452a-8e72-e591fec08000" providerId="ADAL" clId="{5B0BA760-2B43-4298-83C5-7893CC90DB8E}" dt="2021-08-29T11:32:56.866" v="7164" actId="1076"/>
          <ac:spMkLst>
            <pc:docMk/>
            <pc:sldMk cId="1231409087" sldId="302"/>
            <ac:spMk id="63" creationId="{47CF1597-A93A-4B43-8697-8A1ACBB780FE}"/>
          </ac:spMkLst>
        </pc:spChg>
        <pc:spChg chg="mod">
          <ac:chgData name="Chow, Daniel" userId="55b95bf8-e08b-452a-8e72-e591fec08000" providerId="ADAL" clId="{5B0BA760-2B43-4298-83C5-7893CC90DB8E}" dt="2021-08-28T06:52:14.078" v="2467" actId="688"/>
          <ac:spMkLst>
            <pc:docMk/>
            <pc:sldMk cId="1231409087" sldId="302"/>
            <ac:spMk id="64" creationId="{8BB6EA64-C6DD-455D-A3D7-D0803247F9BC}"/>
          </ac:spMkLst>
        </pc:spChg>
        <pc:spChg chg="mod">
          <ac:chgData name="Chow, Daniel" userId="55b95bf8-e08b-452a-8e72-e591fec08000" providerId="ADAL" clId="{5B0BA760-2B43-4298-83C5-7893CC90DB8E}" dt="2021-08-28T06:50:26.251" v="2458" actId="20577"/>
          <ac:spMkLst>
            <pc:docMk/>
            <pc:sldMk cId="1231409087" sldId="302"/>
            <ac:spMk id="65" creationId="{4989BFDC-4229-4C6C-80CC-60DC398084A5}"/>
          </ac:spMkLst>
        </pc:spChg>
        <pc:spChg chg="add del mod">
          <ac:chgData name="Chow, Daniel" userId="55b95bf8-e08b-452a-8e72-e591fec08000" providerId="ADAL" clId="{5B0BA760-2B43-4298-83C5-7893CC90DB8E}" dt="2021-08-27T05:55:57.515" v="388" actId="478"/>
          <ac:spMkLst>
            <pc:docMk/>
            <pc:sldMk cId="1231409087" sldId="302"/>
            <ac:spMk id="66" creationId="{1AA70685-CA65-4A94-8821-1F46006D0F86}"/>
          </ac:spMkLst>
        </pc:spChg>
        <pc:spChg chg="add del mod">
          <ac:chgData name="Chow, Daniel" userId="55b95bf8-e08b-452a-8e72-e591fec08000" providerId="ADAL" clId="{5B0BA760-2B43-4298-83C5-7893CC90DB8E}" dt="2021-08-29T10:06:51.040" v="4638" actId="478"/>
          <ac:spMkLst>
            <pc:docMk/>
            <pc:sldMk cId="1231409087" sldId="302"/>
            <ac:spMk id="66" creationId="{501DEF42-2465-4F7F-93B2-68E8B199A4E5}"/>
          </ac:spMkLst>
        </pc:spChg>
        <pc:spChg chg="add del mod">
          <ac:chgData name="Chow, Daniel" userId="55b95bf8-e08b-452a-8e72-e591fec08000" providerId="ADAL" clId="{5B0BA760-2B43-4298-83C5-7893CC90DB8E}" dt="2021-08-28T10:39:33.294" v="3752"/>
          <ac:spMkLst>
            <pc:docMk/>
            <pc:sldMk cId="1231409087" sldId="302"/>
            <ac:spMk id="66" creationId="{9B1E4563-EA8F-44A5-9B5C-49AB99DA8F91}"/>
          </ac:spMkLst>
        </pc:spChg>
        <pc:spChg chg="add mod">
          <ac:chgData name="Chow, Daniel" userId="55b95bf8-e08b-452a-8e72-e591fec08000" providerId="ADAL" clId="{5B0BA760-2B43-4298-83C5-7893CC90DB8E}" dt="2021-08-27T05:57:07.427" v="428"/>
          <ac:spMkLst>
            <pc:docMk/>
            <pc:sldMk cId="1231409087" sldId="302"/>
            <ac:spMk id="67" creationId="{E1C03548-19CA-4252-8E3E-2CAC7F719EEB}"/>
          </ac:spMkLst>
        </pc:spChg>
        <pc:spChg chg="add mod">
          <ac:chgData name="Chow, Daniel" userId="55b95bf8-e08b-452a-8e72-e591fec08000" providerId="ADAL" clId="{5B0BA760-2B43-4298-83C5-7893CC90DB8E}" dt="2021-08-27T05:57:07.427" v="428"/>
          <ac:spMkLst>
            <pc:docMk/>
            <pc:sldMk cId="1231409087" sldId="302"/>
            <ac:spMk id="68" creationId="{F54021A1-EEEA-4BEF-A6D1-6C1A491E1BBC}"/>
          </ac:spMkLst>
        </pc:spChg>
        <pc:spChg chg="add mod">
          <ac:chgData name="Chow, Daniel" userId="55b95bf8-e08b-452a-8e72-e591fec08000" providerId="ADAL" clId="{5B0BA760-2B43-4298-83C5-7893CC90DB8E}" dt="2021-08-28T06:53:04.799" v="2475" actId="688"/>
          <ac:spMkLst>
            <pc:docMk/>
            <pc:sldMk cId="1231409087" sldId="302"/>
            <ac:spMk id="69" creationId="{35DB88D0-9206-4FDF-99BA-DCF86D5D9C98}"/>
          </ac:spMkLst>
        </pc:spChg>
        <pc:spChg chg="add mod">
          <ac:chgData name="Chow, Daniel" userId="55b95bf8-e08b-452a-8e72-e591fec08000" providerId="ADAL" clId="{5B0BA760-2B43-4298-83C5-7893CC90DB8E}" dt="2021-08-28T06:52:43.860" v="2470" actId="688"/>
          <ac:spMkLst>
            <pc:docMk/>
            <pc:sldMk cId="1231409087" sldId="302"/>
            <ac:spMk id="70" creationId="{21DD4717-67FA-4CC0-B465-D27EDFCE990E}"/>
          </ac:spMkLst>
        </pc:spChg>
        <pc:spChg chg="add mod">
          <ac:chgData name="Chow, Daniel" userId="55b95bf8-e08b-452a-8e72-e591fec08000" providerId="ADAL" clId="{5B0BA760-2B43-4298-83C5-7893CC90DB8E}" dt="2021-08-28T06:52:37.663" v="2469" actId="688"/>
          <ac:spMkLst>
            <pc:docMk/>
            <pc:sldMk cId="1231409087" sldId="302"/>
            <ac:spMk id="71" creationId="{EA6D03E8-95FF-448F-AEAE-F23CE70ECA58}"/>
          </ac:spMkLst>
        </pc:spChg>
        <pc:spChg chg="add del mod">
          <ac:chgData name="Chow, Daniel" userId="55b95bf8-e08b-452a-8e72-e591fec08000" providerId="ADAL" clId="{5B0BA760-2B43-4298-83C5-7893CC90DB8E}" dt="2021-08-28T10:39:38.544" v="3754"/>
          <ac:spMkLst>
            <pc:docMk/>
            <pc:sldMk cId="1231409087" sldId="302"/>
            <ac:spMk id="72" creationId="{1C94514E-6234-415B-951B-56F39C77BA38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74" creationId="{C862BAE0-C0A1-4C2B-A34F-0A2B15EC78BB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75" creationId="{DD656DE7-D846-4C2D-B2D0-EA06D60496A0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76" creationId="{5F1DF0CC-CE9B-4941-B18E-F0DDD798E84D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77" creationId="{C0F642A5-9621-4E3D-A971-D3E23E7A471F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78" creationId="{0FF0EDD3-6112-4015-A952-01B0A74D53BB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79" creationId="{49856626-C6AE-4B1E-9732-E441389A7890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80" creationId="{7796AC82-1D37-4726-A4D8-464696134CD9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81" creationId="{A025C1E6-EA74-4500-9439-CEAA9B45382F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82" creationId="{0EDC0A06-4A61-457B-A9B9-E74416CBFCFC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83" creationId="{5B779F6D-1B21-47A4-9632-3C0BA6B2A391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84" creationId="{DE5F8A97-F3F2-4418-AE63-847D70B514A6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85" creationId="{46AB7D5E-4662-4860-AC6E-5C94FCD7EDBC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86" creationId="{2CA39074-82CC-47C1-B661-5DD877C26280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87" creationId="{4BEB233C-CC19-468D-B4A6-4A368FDC6EF0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88" creationId="{8C005862-0F04-4662-9D1D-373AA7CA28AA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89" creationId="{5FFB149A-5BC3-4B6B-94F3-41BE5474465D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90" creationId="{451E08E3-757C-42E0-9881-FD0D9906D80A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91" creationId="{38CD9BEA-9861-43D5-B85C-4C48AF73A2F6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92" creationId="{57674616-4896-4B76-AFD6-94C2C472D684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93" creationId="{A01F8742-6303-420C-9591-87FC62947430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94" creationId="{E807090C-E8CC-4658-8F7C-38DFE6A23A8B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95" creationId="{DB82F89A-8F7B-49FC-AC9D-934D9C336FAF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96" creationId="{373918BB-9160-4C3A-9D01-85BE72E6F701}"/>
          </ac:spMkLst>
        </pc:spChg>
        <pc:spChg chg="mod">
          <ac:chgData name="Chow, Daniel" userId="55b95bf8-e08b-452a-8e72-e591fec08000" providerId="ADAL" clId="{5B0BA760-2B43-4298-83C5-7893CC90DB8E}" dt="2021-08-28T10:39:44.343" v="3755"/>
          <ac:spMkLst>
            <pc:docMk/>
            <pc:sldMk cId="1231409087" sldId="302"/>
            <ac:spMk id="97" creationId="{7BE18FB0-B07D-4166-BEF9-81CB119A5168}"/>
          </ac:spMkLst>
        </pc:spChg>
        <pc:spChg chg="mod">
          <ac:chgData name="Chow, Daniel" userId="55b95bf8-e08b-452a-8e72-e591fec08000" providerId="ADAL" clId="{5B0BA760-2B43-4298-83C5-7893CC90DB8E}" dt="2021-08-28T12:03:41.404" v="4288" actId="207"/>
          <ac:spMkLst>
            <pc:docMk/>
            <pc:sldMk cId="1231409087" sldId="302"/>
            <ac:spMk id="99" creationId="{9929BB01-E54B-41E5-8DF7-9482F8ADD16B}"/>
          </ac:spMkLst>
        </pc:spChg>
        <pc:spChg chg="mod">
          <ac:chgData name="Chow, Daniel" userId="55b95bf8-e08b-452a-8e72-e591fec08000" providerId="ADAL" clId="{5B0BA760-2B43-4298-83C5-7893CC90DB8E}" dt="2021-08-28T12:03:41.404" v="4288" actId="207"/>
          <ac:spMkLst>
            <pc:docMk/>
            <pc:sldMk cId="1231409087" sldId="302"/>
            <ac:spMk id="100" creationId="{0F799C72-1698-4665-BB94-94EC66DF7F2B}"/>
          </ac:spMkLst>
        </pc:spChg>
        <pc:spChg chg="mod">
          <ac:chgData name="Chow, Daniel" userId="55b95bf8-e08b-452a-8e72-e591fec08000" providerId="ADAL" clId="{5B0BA760-2B43-4298-83C5-7893CC90DB8E}" dt="2021-08-28T12:03:41.404" v="4288" actId="207"/>
          <ac:spMkLst>
            <pc:docMk/>
            <pc:sldMk cId="1231409087" sldId="302"/>
            <ac:spMk id="101" creationId="{43140DC3-9809-4AC8-8679-3B6C71C25313}"/>
          </ac:spMkLst>
        </pc:spChg>
        <pc:spChg chg="mod">
          <ac:chgData name="Chow, Daniel" userId="55b95bf8-e08b-452a-8e72-e591fec08000" providerId="ADAL" clId="{5B0BA760-2B43-4298-83C5-7893CC90DB8E}" dt="2021-08-28T12:03:41.404" v="4288" actId="207"/>
          <ac:spMkLst>
            <pc:docMk/>
            <pc:sldMk cId="1231409087" sldId="302"/>
            <ac:spMk id="102" creationId="{0E09B10B-EC99-4DDB-8C17-749ED6B888BA}"/>
          </ac:spMkLst>
        </pc:spChg>
        <pc:grpChg chg="add del mod">
          <ac:chgData name="Chow, Daniel" userId="55b95bf8-e08b-452a-8e72-e591fec08000" providerId="ADAL" clId="{5B0BA760-2B43-4298-83C5-7893CC90DB8E}" dt="2021-08-28T06:42:47.828" v="2389" actId="165"/>
          <ac:grpSpMkLst>
            <pc:docMk/>
            <pc:sldMk cId="1231409087" sldId="302"/>
            <ac:grpSpMk id="3" creationId="{641F6349-302D-45E0-AA51-0FA01FD938AB}"/>
          </ac:grpSpMkLst>
        </pc:grpChg>
        <pc:grpChg chg="add del mod">
          <ac:chgData name="Chow, Daniel" userId="55b95bf8-e08b-452a-8e72-e591fec08000" providerId="ADAL" clId="{5B0BA760-2B43-4298-83C5-7893CC90DB8E}" dt="2021-08-28T06:41:35.760" v="2370" actId="165"/>
          <ac:grpSpMkLst>
            <pc:docMk/>
            <pc:sldMk cId="1231409087" sldId="302"/>
            <ac:grpSpMk id="4" creationId="{16674503-5C5B-4151-A824-729B59A9E01B}"/>
          </ac:grpSpMkLst>
        </pc:grpChg>
        <pc:grpChg chg="add mod">
          <ac:chgData name="Chow, Daniel" userId="55b95bf8-e08b-452a-8e72-e591fec08000" providerId="ADAL" clId="{5B0BA760-2B43-4298-83C5-7893CC90DB8E}" dt="2021-08-28T06:49:02.083" v="2440" actId="1076"/>
          <ac:grpSpMkLst>
            <pc:docMk/>
            <pc:sldMk cId="1231409087" sldId="302"/>
            <ac:grpSpMk id="5" creationId="{D992E4B4-98B4-40FE-B131-3843D5BC61DE}"/>
          </ac:grpSpMkLst>
        </pc:grpChg>
        <pc:grpChg chg="add mod">
          <ac:chgData name="Chow, Daniel" userId="55b95bf8-e08b-452a-8e72-e591fec08000" providerId="ADAL" clId="{5B0BA760-2B43-4298-83C5-7893CC90DB8E}" dt="2021-08-28T06:49:02.083" v="2440" actId="1076"/>
          <ac:grpSpMkLst>
            <pc:docMk/>
            <pc:sldMk cId="1231409087" sldId="302"/>
            <ac:grpSpMk id="6" creationId="{7D4E1770-22D6-4428-9216-09E6A14CF0F8}"/>
          </ac:grpSpMkLst>
        </pc:grpChg>
        <pc:grpChg chg="add del mod">
          <ac:chgData name="Chow, Daniel" userId="55b95bf8-e08b-452a-8e72-e591fec08000" providerId="ADAL" clId="{5B0BA760-2B43-4298-83C5-7893CC90DB8E}" dt="2021-08-28T06:43:40.379" v="2400" actId="165"/>
          <ac:grpSpMkLst>
            <pc:docMk/>
            <pc:sldMk cId="1231409087" sldId="302"/>
            <ac:grpSpMk id="7" creationId="{04DECD02-165A-448A-A87E-F849F9AA6B26}"/>
          </ac:grpSpMkLst>
        </pc:grpChg>
        <pc:grpChg chg="add mod">
          <ac:chgData name="Chow, Daniel" userId="55b95bf8-e08b-452a-8e72-e591fec08000" providerId="ADAL" clId="{5B0BA760-2B43-4298-83C5-7893CC90DB8E}" dt="2021-08-28T06:49:02.083" v="2440" actId="1076"/>
          <ac:grpSpMkLst>
            <pc:docMk/>
            <pc:sldMk cId="1231409087" sldId="302"/>
            <ac:grpSpMk id="8" creationId="{D714A9B5-64B2-4E1A-97D5-2228F6442F97}"/>
          </ac:grpSpMkLst>
        </pc:grpChg>
        <pc:grpChg chg="add mod">
          <ac:chgData name="Chow, Daniel" userId="55b95bf8-e08b-452a-8e72-e591fec08000" providerId="ADAL" clId="{5B0BA760-2B43-4298-83C5-7893CC90DB8E}" dt="2021-08-28T06:49:02.083" v="2440" actId="1076"/>
          <ac:grpSpMkLst>
            <pc:docMk/>
            <pc:sldMk cId="1231409087" sldId="302"/>
            <ac:grpSpMk id="9" creationId="{AA3CF170-553E-4BAF-A1A7-F4B31CCA3841}"/>
          </ac:grpSpMkLst>
        </pc:grpChg>
        <pc:grpChg chg="add mod">
          <ac:chgData name="Chow, Daniel" userId="55b95bf8-e08b-452a-8e72-e591fec08000" providerId="ADAL" clId="{5B0BA760-2B43-4298-83C5-7893CC90DB8E}" dt="2021-08-28T06:49:02.083" v="2440" actId="1076"/>
          <ac:grpSpMkLst>
            <pc:docMk/>
            <pc:sldMk cId="1231409087" sldId="302"/>
            <ac:grpSpMk id="10" creationId="{908B2C28-7A63-49BD-AC20-AFFB89EB290A}"/>
          </ac:grpSpMkLst>
        </pc:grpChg>
        <pc:grpChg chg="add mod">
          <ac:chgData name="Chow, Daniel" userId="55b95bf8-e08b-452a-8e72-e591fec08000" providerId="ADAL" clId="{5B0BA760-2B43-4298-83C5-7893CC90DB8E}" dt="2021-08-28T06:49:02.083" v="2440" actId="1076"/>
          <ac:grpSpMkLst>
            <pc:docMk/>
            <pc:sldMk cId="1231409087" sldId="302"/>
            <ac:grpSpMk id="11" creationId="{6618011C-0C45-4F34-8CAA-78CAAFABDEE8}"/>
          </ac:grpSpMkLst>
        </pc:grpChg>
        <pc:grpChg chg="add del mod">
          <ac:chgData name="Chow, Daniel" userId="55b95bf8-e08b-452a-8e72-e591fec08000" providerId="ADAL" clId="{5B0BA760-2B43-4298-83C5-7893CC90DB8E}" dt="2021-08-28T10:39:51.563" v="3757" actId="21"/>
          <ac:grpSpMkLst>
            <pc:docMk/>
            <pc:sldMk cId="1231409087" sldId="302"/>
            <ac:grpSpMk id="73" creationId="{C79B04BD-E45A-49A0-B9F1-5418BC03C430}"/>
          </ac:grpSpMkLst>
        </pc:grpChg>
        <pc:grpChg chg="add mod">
          <ac:chgData name="Chow, Daniel" userId="55b95bf8-e08b-452a-8e72-e591fec08000" providerId="ADAL" clId="{5B0BA760-2B43-4298-83C5-7893CC90DB8E}" dt="2021-08-29T10:07:05.817" v="4640" actId="1076"/>
          <ac:grpSpMkLst>
            <pc:docMk/>
            <pc:sldMk cId="1231409087" sldId="302"/>
            <ac:grpSpMk id="98" creationId="{FD182FC9-96AE-4919-AF02-B4CBF0DA01A7}"/>
          </ac:grpSpMkLst>
        </pc:grpChg>
        <pc:picChg chg="mod topLvl">
          <ac:chgData name="Chow, Daniel" userId="55b95bf8-e08b-452a-8e72-e591fec08000" providerId="ADAL" clId="{5B0BA760-2B43-4298-83C5-7893CC90DB8E}" dt="2021-08-28T06:49:02.083" v="2440" actId="1076"/>
          <ac:picMkLst>
            <pc:docMk/>
            <pc:sldMk cId="1231409087" sldId="302"/>
            <ac:picMk id="37" creationId="{4B1131F2-026C-49DE-87E4-DADBEFF50164}"/>
          </ac:picMkLst>
        </pc:picChg>
        <pc:picChg chg="mod topLvl">
          <ac:chgData name="Chow, Daniel" userId="55b95bf8-e08b-452a-8e72-e591fec08000" providerId="ADAL" clId="{5B0BA760-2B43-4298-83C5-7893CC90DB8E}" dt="2021-08-28T06:49:02.083" v="2440" actId="1076"/>
          <ac:picMkLst>
            <pc:docMk/>
            <pc:sldMk cId="1231409087" sldId="302"/>
            <ac:picMk id="45" creationId="{9519EBD7-A2DE-4DCB-B9ED-2EF230CC586B}"/>
          </ac:picMkLst>
        </pc:picChg>
        <pc:picChg chg="mod topLvl">
          <ac:chgData name="Chow, Daniel" userId="55b95bf8-e08b-452a-8e72-e591fec08000" providerId="ADAL" clId="{5B0BA760-2B43-4298-83C5-7893CC90DB8E}" dt="2021-08-28T06:49:02.083" v="2440" actId="1076"/>
          <ac:picMkLst>
            <pc:docMk/>
            <pc:sldMk cId="1231409087" sldId="302"/>
            <ac:picMk id="47" creationId="{EF58B750-08A4-4BA7-B4F0-CC0C19157BC8}"/>
          </ac:picMkLst>
        </pc:picChg>
        <pc:picChg chg="mod topLvl">
          <ac:chgData name="Chow, Daniel" userId="55b95bf8-e08b-452a-8e72-e591fec08000" providerId="ADAL" clId="{5B0BA760-2B43-4298-83C5-7893CC90DB8E}" dt="2021-08-28T06:49:02.083" v="2440" actId="1076"/>
          <ac:picMkLst>
            <pc:docMk/>
            <pc:sldMk cId="1231409087" sldId="302"/>
            <ac:picMk id="49" creationId="{DAC4B160-5339-4C60-B318-A30E295A0542}"/>
          </ac:picMkLst>
        </pc:picChg>
        <pc:picChg chg="mod topLvl">
          <ac:chgData name="Chow, Daniel" userId="55b95bf8-e08b-452a-8e72-e591fec08000" providerId="ADAL" clId="{5B0BA760-2B43-4298-83C5-7893CC90DB8E}" dt="2021-08-28T06:49:02.083" v="2440" actId="1076"/>
          <ac:picMkLst>
            <pc:docMk/>
            <pc:sldMk cId="1231409087" sldId="302"/>
            <ac:picMk id="51" creationId="{24A23ECD-A006-4BC5-8E64-1B834596885C}"/>
          </ac:picMkLst>
        </pc:picChg>
        <pc:picChg chg="mod topLvl">
          <ac:chgData name="Chow, Daniel" userId="55b95bf8-e08b-452a-8e72-e591fec08000" providerId="ADAL" clId="{5B0BA760-2B43-4298-83C5-7893CC90DB8E}" dt="2021-08-28T06:49:02.083" v="2440" actId="1076"/>
          <ac:picMkLst>
            <pc:docMk/>
            <pc:sldMk cId="1231409087" sldId="302"/>
            <ac:picMk id="53" creationId="{195A503E-0C99-4D1A-8865-660452A42CDD}"/>
          </ac:picMkLst>
        </pc:picChg>
        <pc:cxnChg chg="mod">
          <ac:chgData name="Chow, Daniel" userId="55b95bf8-e08b-452a-8e72-e591fec08000" providerId="ADAL" clId="{5B0BA760-2B43-4298-83C5-7893CC90DB8E}" dt="2021-08-29T10:07:05.817" v="4640" actId="1076"/>
          <ac:cxnSpMkLst>
            <pc:docMk/>
            <pc:sldMk cId="1231409087" sldId="302"/>
            <ac:cxnSpMk id="35" creationId="{DDFFE4DB-309D-454C-813F-88E15EE581A9}"/>
          </ac:cxnSpMkLst>
        </pc:cxnChg>
      </pc:sldChg>
      <pc:sldChg chg="addSp delSp modSp del mod modClrScheme addAnim delAnim modAnim chgLayout modNotesTx">
        <pc:chgData name="Chow, Daniel" userId="55b95bf8-e08b-452a-8e72-e591fec08000" providerId="ADAL" clId="{5B0BA760-2B43-4298-83C5-7893CC90DB8E}" dt="2021-09-03T05:21:27.960" v="20562" actId="47"/>
        <pc:sldMkLst>
          <pc:docMk/>
          <pc:sldMk cId="440378862" sldId="303"/>
        </pc:sldMkLst>
        <pc:spChg chg="add del mod ord">
          <ac:chgData name="Chow, Daniel" userId="55b95bf8-e08b-452a-8e72-e591fec08000" providerId="ADAL" clId="{5B0BA760-2B43-4298-83C5-7893CC90DB8E}" dt="2021-08-27T05:47:49.161" v="242" actId="700"/>
          <ac:spMkLst>
            <pc:docMk/>
            <pc:sldMk cId="440378862" sldId="303"/>
            <ac:spMk id="2" creationId="{D067E3FA-127A-4057-A62A-38AE4A1F2051}"/>
          </ac:spMkLst>
        </pc:spChg>
        <pc:spChg chg="add del mod ord">
          <ac:chgData name="Chow, Daniel" userId="55b95bf8-e08b-452a-8e72-e591fec08000" providerId="ADAL" clId="{5B0BA760-2B43-4298-83C5-7893CC90DB8E}" dt="2021-08-27T05:47:49.161" v="242" actId="700"/>
          <ac:spMkLst>
            <pc:docMk/>
            <pc:sldMk cId="440378862" sldId="303"/>
            <ac:spMk id="3" creationId="{A081698D-491E-42D4-B82B-CEE640A6CD59}"/>
          </ac:spMkLst>
        </pc:spChg>
        <pc:spChg chg="add del mod">
          <ac:chgData name="Chow, Daniel" userId="55b95bf8-e08b-452a-8e72-e591fec08000" providerId="ADAL" clId="{5B0BA760-2B43-4298-83C5-7893CC90DB8E}" dt="2021-08-27T05:47:48.562" v="240" actId="478"/>
          <ac:spMkLst>
            <pc:docMk/>
            <pc:sldMk cId="440378862" sldId="303"/>
            <ac:spMk id="11" creationId="{6C660BCC-C642-4944-B276-8171D1A8FFC6}"/>
          </ac:spMkLst>
        </pc:spChg>
        <pc:spChg chg="mod ord">
          <ac:chgData name="Chow, Daniel" userId="55b95bf8-e08b-452a-8e72-e591fec08000" providerId="ADAL" clId="{5B0BA760-2B43-4298-83C5-7893CC90DB8E}" dt="2021-08-29T10:06:46.110" v="4634" actId="1038"/>
          <ac:spMkLst>
            <pc:docMk/>
            <pc:sldMk cId="440378862" sldId="303"/>
            <ac:spMk id="36" creationId="{4539A0AD-E13A-4743-95CB-3F8CC7BE272C}"/>
          </ac:spMkLst>
        </pc:spChg>
        <pc:spChg chg="mod ord">
          <ac:chgData name="Chow, Daniel" userId="55b95bf8-e08b-452a-8e72-e591fec08000" providerId="ADAL" clId="{5B0BA760-2B43-4298-83C5-7893CC90DB8E}" dt="2021-08-27T09:00:25.788" v="1724"/>
          <ac:spMkLst>
            <pc:docMk/>
            <pc:sldMk cId="440378862" sldId="303"/>
            <ac:spMk id="40" creationId="{447C7108-5217-4CC8-A557-C124949439AD}"/>
          </ac:spMkLst>
        </pc:spChg>
        <pc:spChg chg="mod ord">
          <ac:chgData name="Chow, Daniel" userId="55b95bf8-e08b-452a-8e72-e591fec08000" providerId="ADAL" clId="{5B0BA760-2B43-4298-83C5-7893CC90DB8E}" dt="2021-08-27T09:00:25.788" v="1726"/>
          <ac:spMkLst>
            <pc:docMk/>
            <pc:sldMk cId="440378862" sldId="303"/>
            <ac:spMk id="44" creationId="{59301ECD-394D-4188-88D0-72B3AA7A7A3F}"/>
          </ac:spMkLst>
        </pc:spChg>
        <pc:spChg chg="add del mod">
          <ac:chgData name="Chow, Daniel" userId="55b95bf8-e08b-452a-8e72-e591fec08000" providerId="ADAL" clId="{5B0BA760-2B43-4298-83C5-7893CC90DB8E}" dt="2021-08-29T10:06:45.943" v="4633"/>
          <ac:spMkLst>
            <pc:docMk/>
            <pc:sldMk cId="440378862" sldId="303"/>
            <ac:spMk id="54" creationId="{D44D6770-087F-4F93-8F43-B3CA87179A63}"/>
          </ac:spMkLst>
        </pc:spChg>
        <pc:spChg chg="mod">
          <ac:chgData name="Chow, Daniel" userId="55b95bf8-e08b-452a-8e72-e591fec08000" providerId="ADAL" clId="{5B0BA760-2B43-4298-83C5-7893CC90DB8E}" dt="2021-08-28T10:41:24.462" v="3792"/>
          <ac:spMkLst>
            <pc:docMk/>
            <pc:sldMk cId="440378862" sldId="303"/>
            <ac:spMk id="54" creationId="{F313FD59-87B8-4F7C-BEB0-F2CA2263518C}"/>
          </ac:spMkLst>
        </pc:spChg>
        <pc:spChg chg="mod">
          <ac:chgData name="Chow, Daniel" userId="55b95bf8-e08b-452a-8e72-e591fec08000" providerId="ADAL" clId="{5B0BA760-2B43-4298-83C5-7893CC90DB8E}" dt="2021-08-28T10:41:24.462" v="3792"/>
          <ac:spMkLst>
            <pc:docMk/>
            <pc:sldMk cId="440378862" sldId="303"/>
            <ac:spMk id="55" creationId="{8586915D-6D8F-4317-99F4-B81B5A5C7E44}"/>
          </ac:spMkLst>
        </pc:spChg>
        <pc:spChg chg="mod">
          <ac:chgData name="Chow, Daniel" userId="55b95bf8-e08b-452a-8e72-e591fec08000" providerId="ADAL" clId="{5B0BA760-2B43-4298-83C5-7893CC90DB8E}" dt="2021-08-28T10:41:24.462" v="3792"/>
          <ac:spMkLst>
            <pc:docMk/>
            <pc:sldMk cId="440378862" sldId="303"/>
            <ac:spMk id="56" creationId="{B16B4FED-EEA4-4693-9AC0-226C3BFF265F}"/>
          </ac:spMkLst>
        </pc:spChg>
        <pc:spChg chg="mod">
          <ac:chgData name="Chow, Daniel" userId="55b95bf8-e08b-452a-8e72-e591fec08000" providerId="ADAL" clId="{5B0BA760-2B43-4298-83C5-7893CC90DB8E}" dt="2021-08-28T10:41:24.462" v="3792"/>
          <ac:spMkLst>
            <pc:docMk/>
            <pc:sldMk cId="440378862" sldId="303"/>
            <ac:spMk id="57" creationId="{745DF659-541C-42CF-9688-FC4ADCB8F482}"/>
          </ac:spMkLst>
        </pc:spChg>
        <pc:spChg chg="mod">
          <ac:chgData name="Chow, Daniel" userId="55b95bf8-e08b-452a-8e72-e591fec08000" providerId="ADAL" clId="{5B0BA760-2B43-4298-83C5-7893CC90DB8E}" dt="2021-08-28T10:41:24.462" v="3792"/>
          <ac:spMkLst>
            <pc:docMk/>
            <pc:sldMk cId="440378862" sldId="303"/>
            <ac:spMk id="58" creationId="{56BDA996-0750-453A-A785-34EA88B0AE67}"/>
          </ac:spMkLst>
        </pc:spChg>
        <pc:spChg chg="mod">
          <ac:chgData name="Chow, Daniel" userId="55b95bf8-e08b-452a-8e72-e591fec08000" providerId="ADAL" clId="{5B0BA760-2B43-4298-83C5-7893CC90DB8E}" dt="2021-08-28T10:41:24.462" v="3792"/>
          <ac:spMkLst>
            <pc:docMk/>
            <pc:sldMk cId="440378862" sldId="303"/>
            <ac:spMk id="59" creationId="{9DA90208-41E7-411F-A389-C326449F45BF}"/>
          </ac:spMkLst>
        </pc:spChg>
        <pc:spChg chg="mod">
          <ac:chgData name="Chow, Daniel" userId="55b95bf8-e08b-452a-8e72-e591fec08000" providerId="ADAL" clId="{5B0BA760-2B43-4298-83C5-7893CC90DB8E}" dt="2021-08-29T11:45:05.037" v="7178" actId="207"/>
          <ac:spMkLst>
            <pc:docMk/>
            <pc:sldMk cId="440378862" sldId="303"/>
            <ac:spMk id="61" creationId="{5221C670-ACF6-413E-B34F-DF93664C025F}"/>
          </ac:spMkLst>
        </pc:spChg>
        <pc:spChg chg="mod">
          <ac:chgData name="Chow, Daniel" userId="55b95bf8-e08b-452a-8e72-e591fec08000" providerId="ADAL" clId="{5B0BA760-2B43-4298-83C5-7893CC90DB8E}" dt="2021-08-29T11:45:05.037" v="7178" actId="207"/>
          <ac:spMkLst>
            <pc:docMk/>
            <pc:sldMk cId="440378862" sldId="303"/>
            <ac:spMk id="62" creationId="{CA143BC9-D846-4822-ADE1-9740B9B010A0}"/>
          </ac:spMkLst>
        </pc:spChg>
        <pc:spChg chg="mod">
          <ac:chgData name="Chow, Daniel" userId="55b95bf8-e08b-452a-8e72-e591fec08000" providerId="ADAL" clId="{5B0BA760-2B43-4298-83C5-7893CC90DB8E}" dt="2021-08-29T11:45:05.037" v="7178" actId="207"/>
          <ac:spMkLst>
            <pc:docMk/>
            <pc:sldMk cId="440378862" sldId="303"/>
            <ac:spMk id="63" creationId="{61AEB4F9-A666-4D44-9462-E7D6682030DB}"/>
          </ac:spMkLst>
        </pc:spChg>
        <pc:spChg chg="mod">
          <ac:chgData name="Chow, Daniel" userId="55b95bf8-e08b-452a-8e72-e591fec08000" providerId="ADAL" clId="{5B0BA760-2B43-4298-83C5-7893CC90DB8E}" dt="2021-08-29T11:45:05.037" v="7178" actId="207"/>
          <ac:spMkLst>
            <pc:docMk/>
            <pc:sldMk cId="440378862" sldId="303"/>
            <ac:spMk id="64" creationId="{ABC9B2F0-CC8C-4765-9809-0E1808CD27D9}"/>
          </ac:spMkLst>
        </pc:spChg>
        <pc:spChg chg="mod">
          <ac:chgData name="Chow, Daniel" userId="55b95bf8-e08b-452a-8e72-e591fec08000" providerId="ADAL" clId="{5B0BA760-2B43-4298-83C5-7893CC90DB8E}" dt="2021-08-29T11:45:05.037" v="7178" actId="207"/>
          <ac:spMkLst>
            <pc:docMk/>
            <pc:sldMk cId="440378862" sldId="303"/>
            <ac:spMk id="65" creationId="{957DEAEF-8E59-47C3-AAF5-D7A21528CBA1}"/>
          </ac:spMkLst>
        </pc:spChg>
        <pc:spChg chg="mod">
          <ac:chgData name="Chow, Daniel" userId="55b95bf8-e08b-452a-8e72-e591fec08000" providerId="ADAL" clId="{5B0BA760-2B43-4298-83C5-7893CC90DB8E}" dt="2021-08-29T11:45:05.037" v="7178" actId="207"/>
          <ac:spMkLst>
            <pc:docMk/>
            <pc:sldMk cId="440378862" sldId="303"/>
            <ac:spMk id="66" creationId="{033750BF-E4C0-4B17-ACA5-A31B9A76B1C0}"/>
          </ac:spMkLst>
        </pc:spChg>
        <pc:spChg chg="add del mod">
          <ac:chgData name="Chow, Daniel" userId="55b95bf8-e08b-452a-8e72-e591fec08000" providerId="ADAL" clId="{5B0BA760-2B43-4298-83C5-7893CC90DB8E}" dt="2021-08-27T05:55:59.196" v="389" actId="478"/>
          <ac:spMkLst>
            <pc:docMk/>
            <pc:sldMk cId="440378862" sldId="303"/>
            <ac:spMk id="66" creationId="{A854E6E5-7712-4F5E-B57F-26E8768CBD36}"/>
          </ac:spMkLst>
        </pc:spChg>
        <pc:spChg chg="add del mod ord">
          <ac:chgData name="Chow, Daniel" userId="55b95bf8-e08b-452a-8e72-e591fec08000" providerId="ADAL" clId="{5B0BA760-2B43-4298-83C5-7893CC90DB8E}" dt="2021-08-28T07:45:41.644" v="2529" actId="478"/>
          <ac:spMkLst>
            <pc:docMk/>
            <pc:sldMk cId="440378862" sldId="303"/>
            <ac:spMk id="67" creationId="{7E778629-E8D5-476A-9B7E-FED5A6B93581}"/>
          </ac:spMkLst>
        </pc:spChg>
        <pc:spChg chg="add mod ord">
          <ac:chgData name="Chow, Daniel" userId="55b95bf8-e08b-452a-8e72-e591fec08000" providerId="ADAL" clId="{5B0BA760-2B43-4298-83C5-7893CC90DB8E}" dt="2021-08-27T09:00:25.788" v="1734"/>
          <ac:spMkLst>
            <pc:docMk/>
            <pc:sldMk cId="440378862" sldId="303"/>
            <ac:spMk id="68" creationId="{82C21310-3AE1-403A-97FD-F77C6BABD4C3}"/>
          </ac:spMkLst>
        </pc:spChg>
        <pc:spChg chg="add mod ord">
          <ac:chgData name="Chow, Daniel" userId="55b95bf8-e08b-452a-8e72-e591fec08000" providerId="ADAL" clId="{5B0BA760-2B43-4298-83C5-7893CC90DB8E}" dt="2021-08-28T07:35:52.601" v="2509" actId="403"/>
          <ac:spMkLst>
            <pc:docMk/>
            <pc:sldMk cId="440378862" sldId="303"/>
            <ac:spMk id="69" creationId="{8BB28E45-53C6-45A0-B898-ADDA02D65B4A}"/>
          </ac:spMkLst>
        </pc:spChg>
        <pc:spChg chg="add mod ord">
          <ac:chgData name="Chow, Daniel" userId="55b95bf8-e08b-452a-8e72-e591fec08000" providerId="ADAL" clId="{5B0BA760-2B43-4298-83C5-7893CC90DB8E}" dt="2021-08-28T07:26:08.609" v="2499" actId="14100"/>
          <ac:spMkLst>
            <pc:docMk/>
            <pc:sldMk cId="440378862" sldId="303"/>
            <ac:spMk id="70" creationId="{0D3B62B7-70E4-48F0-999F-E3218673F3F4}"/>
          </ac:spMkLst>
        </pc:spChg>
        <pc:spChg chg="add del mod ord">
          <ac:chgData name="Chow, Daniel" userId="55b95bf8-e08b-452a-8e72-e591fec08000" providerId="ADAL" clId="{5B0BA760-2B43-4298-83C5-7893CC90DB8E}" dt="2021-08-27T07:57:11.598" v="582" actId="478"/>
          <ac:spMkLst>
            <pc:docMk/>
            <pc:sldMk cId="440378862" sldId="303"/>
            <ac:spMk id="71" creationId="{1FC8662C-4347-4741-B773-EC558FF018E7}"/>
          </ac:spMkLst>
        </pc:spChg>
        <pc:spChg chg="add mod ord">
          <ac:chgData name="Chow, Daniel" userId="55b95bf8-e08b-452a-8e72-e591fec08000" providerId="ADAL" clId="{5B0BA760-2B43-4298-83C5-7893CC90DB8E}" dt="2021-08-28T07:40:38.533" v="2526" actId="14100"/>
          <ac:spMkLst>
            <pc:docMk/>
            <pc:sldMk cId="440378862" sldId="303"/>
            <ac:spMk id="72" creationId="{DE11BD4E-CF53-47F1-9F04-0A98B3A5B6DF}"/>
          </ac:spMkLst>
        </pc:spChg>
        <pc:spChg chg="mod">
          <ac:chgData name="Chow, Daniel" userId="55b95bf8-e08b-452a-8e72-e591fec08000" providerId="ADAL" clId="{5B0BA760-2B43-4298-83C5-7893CC90DB8E}" dt="2021-08-28T06:28:25.248" v="2091" actId="20577"/>
          <ac:spMkLst>
            <pc:docMk/>
            <pc:sldMk cId="440378862" sldId="303"/>
            <ac:spMk id="74" creationId="{AD88DDC5-F016-454B-8F19-628E75E82543}"/>
          </ac:spMkLst>
        </pc:spChg>
        <pc:spChg chg="mod">
          <ac:chgData name="Chow, Daniel" userId="55b95bf8-e08b-452a-8e72-e591fec08000" providerId="ADAL" clId="{5B0BA760-2B43-4298-83C5-7893CC90DB8E}" dt="2021-08-29T12:30:54.728" v="7545" actId="255"/>
          <ac:spMkLst>
            <pc:docMk/>
            <pc:sldMk cId="440378862" sldId="303"/>
            <ac:spMk id="75" creationId="{DB732EB7-68F9-481F-AFD8-CDC7294CDB33}"/>
          </ac:spMkLst>
        </pc:spChg>
        <pc:spChg chg="mod">
          <ac:chgData name="Chow, Daniel" userId="55b95bf8-e08b-452a-8e72-e591fec08000" providerId="ADAL" clId="{5B0BA760-2B43-4298-83C5-7893CC90DB8E}" dt="2021-08-28T06:29:29.071" v="2150" actId="20577"/>
          <ac:spMkLst>
            <pc:docMk/>
            <pc:sldMk cId="440378862" sldId="303"/>
            <ac:spMk id="77" creationId="{1BF94F22-91B0-4387-886A-AC1329704746}"/>
          </ac:spMkLst>
        </pc:spChg>
        <pc:spChg chg="mod">
          <ac:chgData name="Chow, Daniel" userId="55b95bf8-e08b-452a-8e72-e591fec08000" providerId="ADAL" clId="{5B0BA760-2B43-4298-83C5-7893CC90DB8E}" dt="2021-08-28T07:36:55.132" v="2514" actId="207"/>
          <ac:spMkLst>
            <pc:docMk/>
            <pc:sldMk cId="440378862" sldId="303"/>
            <ac:spMk id="78" creationId="{1E24EB9D-9AD3-4313-AE9C-025E23C19B5D}"/>
          </ac:spMkLst>
        </pc:spChg>
        <pc:spChg chg="mod">
          <ac:chgData name="Chow, Daniel" userId="55b95bf8-e08b-452a-8e72-e591fec08000" providerId="ADAL" clId="{5B0BA760-2B43-4298-83C5-7893CC90DB8E}" dt="2021-08-28T06:35:45.181" v="2241" actId="20577"/>
          <ac:spMkLst>
            <pc:docMk/>
            <pc:sldMk cId="440378862" sldId="303"/>
            <ac:spMk id="80" creationId="{B4FB7E0E-B204-4474-B7FB-43491839C712}"/>
          </ac:spMkLst>
        </pc:spChg>
        <pc:spChg chg="mod">
          <ac:chgData name="Chow, Daniel" userId="55b95bf8-e08b-452a-8e72-e591fec08000" providerId="ADAL" clId="{5B0BA760-2B43-4298-83C5-7893CC90DB8E}" dt="2021-08-28T07:36:58.938" v="2515" actId="207"/>
          <ac:spMkLst>
            <pc:docMk/>
            <pc:sldMk cId="440378862" sldId="303"/>
            <ac:spMk id="81" creationId="{4485803D-7FBF-4853-A49A-ACDFC3CAB580}"/>
          </ac:spMkLst>
        </pc:spChg>
        <pc:spChg chg="mod">
          <ac:chgData name="Chow, Daniel" userId="55b95bf8-e08b-452a-8e72-e591fec08000" providerId="ADAL" clId="{5B0BA760-2B43-4298-83C5-7893CC90DB8E}" dt="2021-08-27T08:49:04.328" v="1171" actId="20577"/>
          <ac:spMkLst>
            <pc:docMk/>
            <pc:sldMk cId="440378862" sldId="303"/>
            <ac:spMk id="83" creationId="{CABEB8CA-8D27-4C5B-AFD8-D7627C1B0ED5}"/>
          </ac:spMkLst>
        </pc:spChg>
        <pc:spChg chg="mod">
          <ac:chgData name="Chow, Daniel" userId="55b95bf8-e08b-452a-8e72-e591fec08000" providerId="ADAL" clId="{5B0BA760-2B43-4298-83C5-7893CC90DB8E}" dt="2021-08-28T07:42:01.124" v="2528" actId="207"/>
          <ac:spMkLst>
            <pc:docMk/>
            <pc:sldMk cId="440378862" sldId="303"/>
            <ac:spMk id="84" creationId="{B29A58C0-0DA2-47F9-ADC7-1DBD3F6BDD6C}"/>
          </ac:spMkLst>
        </pc:spChg>
        <pc:spChg chg="mod">
          <ac:chgData name="Chow, Daniel" userId="55b95bf8-e08b-452a-8e72-e591fec08000" providerId="ADAL" clId="{5B0BA760-2B43-4298-83C5-7893CC90DB8E}" dt="2021-08-27T08:48:50.417" v="1157" actId="20577"/>
          <ac:spMkLst>
            <pc:docMk/>
            <pc:sldMk cId="440378862" sldId="303"/>
            <ac:spMk id="86" creationId="{A7B74926-B886-49F9-BFF6-D421EB3B9407}"/>
          </ac:spMkLst>
        </pc:spChg>
        <pc:spChg chg="mod">
          <ac:chgData name="Chow, Daniel" userId="55b95bf8-e08b-452a-8e72-e591fec08000" providerId="ADAL" clId="{5B0BA760-2B43-4298-83C5-7893CC90DB8E}" dt="2021-08-28T07:37:15.397" v="2519" actId="113"/>
          <ac:spMkLst>
            <pc:docMk/>
            <pc:sldMk cId="440378862" sldId="303"/>
            <ac:spMk id="87" creationId="{2B518D36-456B-47FB-9A9E-3DDCA6E5E452}"/>
          </ac:spMkLst>
        </pc:spChg>
        <pc:spChg chg="add mod ord">
          <ac:chgData name="Chow, Daniel" userId="55b95bf8-e08b-452a-8e72-e591fec08000" providerId="ADAL" clId="{5B0BA760-2B43-4298-83C5-7893CC90DB8E}" dt="2021-08-28T09:52:57.222" v="3740" actId="6549"/>
          <ac:spMkLst>
            <pc:docMk/>
            <pc:sldMk cId="440378862" sldId="303"/>
            <ac:spMk id="88" creationId="{10CA715E-96F5-43E7-B5E8-54C49DCB82B5}"/>
          </ac:spMkLst>
        </pc:spChg>
        <pc:spChg chg="mod">
          <ac:chgData name="Chow, Daniel" userId="55b95bf8-e08b-452a-8e72-e591fec08000" providerId="ADAL" clId="{5B0BA760-2B43-4298-83C5-7893CC90DB8E}" dt="2021-08-27T08:40:11.939" v="833" actId="207"/>
          <ac:spMkLst>
            <pc:docMk/>
            <pc:sldMk cId="440378862" sldId="303"/>
            <ac:spMk id="90" creationId="{5B9C8EBC-5C11-4238-9331-E51EF661F057}"/>
          </ac:spMkLst>
        </pc:spChg>
        <pc:spChg chg="mod">
          <ac:chgData name="Chow, Daniel" userId="55b95bf8-e08b-452a-8e72-e591fec08000" providerId="ADAL" clId="{5B0BA760-2B43-4298-83C5-7893CC90DB8E}" dt="2021-08-27T08:40:11.939" v="833" actId="207"/>
          <ac:spMkLst>
            <pc:docMk/>
            <pc:sldMk cId="440378862" sldId="303"/>
            <ac:spMk id="91" creationId="{7643260B-1D3C-4196-BE81-398CC7F3D414}"/>
          </ac:spMkLst>
        </pc:spChg>
        <pc:spChg chg="mod">
          <ac:chgData name="Chow, Daniel" userId="55b95bf8-e08b-452a-8e72-e591fec08000" providerId="ADAL" clId="{5B0BA760-2B43-4298-83C5-7893CC90DB8E}" dt="2021-08-27T08:40:11.939" v="833" actId="207"/>
          <ac:spMkLst>
            <pc:docMk/>
            <pc:sldMk cId="440378862" sldId="303"/>
            <ac:spMk id="92" creationId="{EA38CF9B-0C49-44DC-9919-F223E729D452}"/>
          </ac:spMkLst>
        </pc:spChg>
        <pc:spChg chg="add mod ord">
          <ac:chgData name="Chow, Daniel" userId="55b95bf8-e08b-452a-8e72-e591fec08000" providerId="ADAL" clId="{5B0BA760-2B43-4298-83C5-7893CC90DB8E}" dt="2021-08-29T12:31:13.875" v="7550" actId="20577"/>
          <ac:spMkLst>
            <pc:docMk/>
            <pc:sldMk cId="440378862" sldId="303"/>
            <ac:spMk id="94" creationId="{6C2FCD28-CE51-46FE-8983-7A9C93B18BFC}"/>
          </ac:spMkLst>
        </pc:spChg>
        <pc:spChg chg="add mod ord">
          <ac:chgData name="Chow, Daniel" userId="55b95bf8-e08b-452a-8e72-e591fec08000" providerId="ADAL" clId="{5B0BA760-2B43-4298-83C5-7893CC90DB8E}" dt="2021-08-27T09:00:25.805" v="1759"/>
          <ac:spMkLst>
            <pc:docMk/>
            <pc:sldMk cId="440378862" sldId="303"/>
            <ac:spMk id="95" creationId="{2F9C7F9F-0F2A-4EE0-B45D-03517E35BD6F}"/>
          </ac:spMkLst>
        </pc:spChg>
        <pc:spChg chg="add mod ord">
          <ac:chgData name="Chow, Daniel" userId="55b95bf8-e08b-452a-8e72-e591fec08000" providerId="ADAL" clId="{5B0BA760-2B43-4298-83C5-7893CC90DB8E}" dt="2021-08-28T07:39:59.690" v="2525" actId="1076"/>
          <ac:spMkLst>
            <pc:docMk/>
            <pc:sldMk cId="440378862" sldId="303"/>
            <ac:spMk id="96" creationId="{A9D92E40-746C-4F4C-AA4D-397EA6E234BA}"/>
          </ac:spMkLst>
        </pc:spChg>
        <pc:spChg chg="add mod ord">
          <ac:chgData name="Chow, Daniel" userId="55b95bf8-e08b-452a-8e72-e591fec08000" providerId="ADAL" clId="{5B0BA760-2B43-4298-83C5-7893CC90DB8E}" dt="2021-08-28T07:37:57.098" v="2520" actId="1036"/>
          <ac:spMkLst>
            <pc:docMk/>
            <pc:sldMk cId="440378862" sldId="303"/>
            <ac:spMk id="97" creationId="{8B3A6F20-BB9F-48FE-AC0A-1C5D7B9FD192}"/>
          </ac:spMkLst>
        </pc:spChg>
        <pc:spChg chg="add mod ord">
          <ac:chgData name="Chow, Daniel" userId="55b95bf8-e08b-452a-8e72-e591fec08000" providerId="ADAL" clId="{5B0BA760-2B43-4298-83C5-7893CC90DB8E}" dt="2021-08-27T09:00:25.805" v="1765"/>
          <ac:spMkLst>
            <pc:docMk/>
            <pc:sldMk cId="440378862" sldId="303"/>
            <ac:spMk id="98" creationId="{4AB645E9-E7B7-4E97-A37F-CDDC8BBA66A6}"/>
          </ac:spMkLst>
        </pc:spChg>
        <pc:spChg chg="add mod ord">
          <ac:chgData name="Chow, Daniel" userId="55b95bf8-e08b-452a-8e72-e591fec08000" providerId="ADAL" clId="{5B0BA760-2B43-4298-83C5-7893CC90DB8E}" dt="2021-08-27T09:00:25.805" v="1771"/>
          <ac:spMkLst>
            <pc:docMk/>
            <pc:sldMk cId="440378862" sldId="303"/>
            <ac:spMk id="100" creationId="{91D3AE0C-C12A-434A-AA65-55BDC446E576}"/>
          </ac:spMkLst>
        </pc:spChg>
        <pc:spChg chg="add del mod">
          <ac:chgData name="Chow, Daniel" userId="55b95bf8-e08b-452a-8e72-e591fec08000" providerId="ADAL" clId="{5B0BA760-2B43-4298-83C5-7893CC90DB8E}" dt="2021-08-27T08:44:57.523" v="865" actId="478"/>
          <ac:spMkLst>
            <pc:docMk/>
            <pc:sldMk cId="440378862" sldId="303"/>
            <ac:spMk id="101" creationId="{F3B1F722-29FC-4401-BD3C-541FF3E481DF}"/>
          </ac:spMkLst>
        </pc:spChg>
        <pc:grpChg chg="add del mod">
          <ac:chgData name="Chow, Daniel" userId="55b95bf8-e08b-452a-8e72-e591fec08000" providerId="ADAL" clId="{5B0BA760-2B43-4298-83C5-7893CC90DB8E}" dt="2021-08-28T10:41:27.798" v="3794" actId="478"/>
          <ac:grpSpMkLst>
            <pc:docMk/>
            <pc:sldMk cId="440378862" sldId="303"/>
            <ac:grpSpMk id="53" creationId="{15ED399C-3C38-4B5F-9B47-F70EF16FA746}"/>
          </ac:grpSpMkLst>
        </pc:grpChg>
        <pc:grpChg chg="add mod">
          <ac:chgData name="Chow, Daniel" userId="55b95bf8-e08b-452a-8e72-e591fec08000" providerId="ADAL" clId="{5B0BA760-2B43-4298-83C5-7893CC90DB8E}" dt="2021-08-29T11:45:05.037" v="7178" actId="207"/>
          <ac:grpSpMkLst>
            <pc:docMk/>
            <pc:sldMk cId="440378862" sldId="303"/>
            <ac:grpSpMk id="60" creationId="{47097E63-0D26-4430-B941-7ECCD739A435}"/>
          </ac:grpSpMkLst>
        </pc:grpChg>
        <pc:grpChg chg="add mod ord">
          <ac:chgData name="Chow, Daniel" userId="55b95bf8-e08b-452a-8e72-e591fec08000" providerId="ADAL" clId="{5B0BA760-2B43-4298-83C5-7893CC90DB8E}" dt="2021-08-27T09:00:25.788" v="1744"/>
          <ac:grpSpMkLst>
            <pc:docMk/>
            <pc:sldMk cId="440378862" sldId="303"/>
            <ac:grpSpMk id="73" creationId="{17DF0BE0-E858-4C15-A39D-70E0D2FC17EA}"/>
          </ac:grpSpMkLst>
        </pc:grpChg>
        <pc:grpChg chg="add mod ord">
          <ac:chgData name="Chow, Daniel" userId="55b95bf8-e08b-452a-8e72-e591fec08000" providerId="ADAL" clId="{5B0BA760-2B43-4298-83C5-7893CC90DB8E}" dt="2021-08-27T09:00:25.804" v="1746"/>
          <ac:grpSpMkLst>
            <pc:docMk/>
            <pc:sldMk cId="440378862" sldId="303"/>
            <ac:grpSpMk id="76" creationId="{7CA6F916-1A2B-4BF7-8945-B57DA3087C5E}"/>
          </ac:grpSpMkLst>
        </pc:grpChg>
        <pc:grpChg chg="add mod ord">
          <ac:chgData name="Chow, Daniel" userId="55b95bf8-e08b-452a-8e72-e591fec08000" providerId="ADAL" clId="{5B0BA760-2B43-4298-83C5-7893CC90DB8E}" dt="2021-08-27T09:00:25.804" v="1748"/>
          <ac:grpSpMkLst>
            <pc:docMk/>
            <pc:sldMk cId="440378862" sldId="303"/>
            <ac:grpSpMk id="79" creationId="{9B5BFF23-B16A-4FF2-83B4-E5945B99F311}"/>
          </ac:grpSpMkLst>
        </pc:grpChg>
        <pc:grpChg chg="add mod ord">
          <ac:chgData name="Chow, Daniel" userId="55b95bf8-e08b-452a-8e72-e591fec08000" providerId="ADAL" clId="{5B0BA760-2B43-4298-83C5-7893CC90DB8E}" dt="2021-08-27T09:00:25.805" v="1750"/>
          <ac:grpSpMkLst>
            <pc:docMk/>
            <pc:sldMk cId="440378862" sldId="303"/>
            <ac:grpSpMk id="82" creationId="{7F46EB19-B2B4-4363-94CF-4199A6ECF172}"/>
          </ac:grpSpMkLst>
        </pc:grpChg>
        <pc:grpChg chg="add mod ord">
          <ac:chgData name="Chow, Daniel" userId="55b95bf8-e08b-452a-8e72-e591fec08000" providerId="ADAL" clId="{5B0BA760-2B43-4298-83C5-7893CC90DB8E}" dt="2021-08-27T09:00:25.805" v="1752"/>
          <ac:grpSpMkLst>
            <pc:docMk/>
            <pc:sldMk cId="440378862" sldId="303"/>
            <ac:grpSpMk id="85" creationId="{8DBAFB26-B2A8-435D-A3E3-ECBE06D6D6B9}"/>
          </ac:grpSpMkLst>
        </pc:grpChg>
        <pc:grpChg chg="add mod ord">
          <ac:chgData name="Chow, Daniel" userId="55b95bf8-e08b-452a-8e72-e591fec08000" providerId="ADAL" clId="{5B0BA760-2B43-4298-83C5-7893CC90DB8E}" dt="2021-08-27T09:00:25.805" v="1756"/>
          <ac:grpSpMkLst>
            <pc:docMk/>
            <pc:sldMk cId="440378862" sldId="303"/>
            <ac:grpSpMk id="89" creationId="{A0E48B9A-88B1-4AB4-9844-E1E1076BDB29}"/>
          </ac:grpSpMkLst>
        </pc:grpChg>
        <pc:graphicFrameChg chg="mod">
          <ac:chgData name="Chow, Daniel" userId="55b95bf8-e08b-452a-8e72-e591fec08000" providerId="ADAL" clId="{5B0BA760-2B43-4298-83C5-7893CC90DB8E}" dt="2021-08-27T09:00:25.805" v="1784"/>
          <ac:graphicFrameMkLst>
            <pc:docMk/>
            <pc:sldMk cId="440378862" sldId="303"/>
            <ac:graphicFrameMk id="31" creationId="{EBC077DF-B1E4-484C-98A3-8570C24A382B}"/>
          </ac:graphicFrameMkLst>
        </pc:graphicFrameChg>
        <pc:graphicFrameChg chg="add mod ord">
          <ac:chgData name="Chow, Daniel" userId="55b95bf8-e08b-452a-8e72-e591fec08000" providerId="ADAL" clId="{5B0BA760-2B43-4298-83C5-7893CC90DB8E}" dt="2021-08-27T09:00:25.805" v="1769"/>
          <ac:graphicFrameMkLst>
            <pc:docMk/>
            <pc:sldMk cId="440378862" sldId="303"/>
            <ac:graphicFrameMk id="99" creationId="{D1EDA7C1-D6D5-473B-8A3F-F44467C14515}"/>
          </ac:graphicFrameMkLst>
        </pc:graphicFrameChg>
        <pc:picChg chg="add del mod">
          <ac:chgData name="Chow, Daniel" userId="55b95bf8-e08b-452a-8e72-e591fec08000" providerId="ADAL" clId="{5B0BA760-2B43-4298-83C5-7893CC90DB8E}" dt="2021-08-28T06:35:05.784" v="2210" actId="478"/>
          <ac:picMkLst>
            <pc:docMk/>
            <pc:sldMk cId="440378862" sldId="303"/>
            <ac:picMk id="3" creationId="{0B703D15-063C-4C8D-8F07-ECEC740621FB}"/>
          </ac:picMkLst>
        </pc:picChg>
        <pc:picChg chg="add del mod">
          <ac:chgData name="Chow, Daniel" userId="55b95bf8-e08b-452a-8e72-e591fec08000" providerId="ADAL" clId="{5B0BA760-2B43-4298-83C5-7893CC90DB8E}" dt="2021-08-27T05:34:08.884" v="218"/>
          <ac:picMkLst>
            <pc:docMk/>
            <pc:sldMk cId="440378862" sldId="303"/>
            <ac:picMk id="5" creationId="{6C7681E2-8A6A-4B98-861B-16DCFB757EE9}"/>
          </ac:picMkLst>
        </pc:picChg>
        <pc:picChg chg="add mod">
          <ac:chgData name="Chow, Daniel" userId="55b95bf8-e08b-452a-8e72-e591fec08000" providerId="ADAL" clId="{5B0BA760-2B43-4298-83C5-7893CC90DB8E}" dt="2021-08-28T07:39:12.518" v="2521" actId="14100"/>
          <ac:picMkLst>
            <pc:docMk/>
            <pc:sldMk cId="440378862" sldId="303"/>
            <ac:picMk id="5" creationId="{E8A2778A-E74F-4E99-AC5C-EAFD4C06C5D2}"/>
          </ac:picMkLst>
        </pc:picChg>
        <pc:picChg chg="add del mod">
          <ac:chgData name="Chow, Daniel" userId="55b95bf8-e08b-452a-8e72-e591fec08000" providerId="ADAL" clId="{5B0BA760-2B43-4298-83C5-7893CC90DB8E}" dt="2021-08-27T05:36:37.438" v="223"/>
          <ac:picMkLst>
            <pc:docMk/>
            <pc:sldMk cId="440378862" sldId="303"/>
            <ac:picMk id="7" creationId="{5814A79C-E721-4471-AFFA-8811FD7879F4}"/>
          </ac:picMkLst>
        </pc:picChg>
        <pc:picChg chg="add mod">
          <ac:chgData name="Chow, Daniel" userId="55b95bf8-e08b-452a-8e72-e591fec08000" providerId="ADAL" clId="{5B0BA760-2B43-4298-83C5-7893CC90DB8E}" dt="2021-08-27T05:45:58.070" v="225"/>
          <ac:picMkLst>
            <pc:docMk/>
            <pc:sldMk cId="440378862" sldId="303"/>
            <ac:picMk id="8" creationId="{FA63C945-60E4-492A-AFD7-6732FA158459}"/>
          </ac:picMkLst>
        </pc:picChg>
        <pc:picChg chg="add del mod">
          <ac:chgData name="Chow, Daniel" userId="55b95bf8-e08b-452a-8e72-e591fec08000" providerId="ADAL" clId="{5B0BA760-2B43-4298-83C5-7893CC90DB8E}" dt="2021-08-27T05:47:49.010" v="241"/>
          <ac:picMkLst>
            <pc:docMk/>
            <pc:sldMk cId="440378862" sldId="303"/>
            <ac:picMk id="9" creationId="{D71CBFAC-8E68-4BC0-9799-F704D1AC29FE}"/>
          </ac:picMkLst>
        </pc:picChg>
        <pc:picChg chg="add del mod ord">
          <ac:chgData name="Chow, Daniel" userId="55b95bf8-e08b-452a-8e72-e591fec08000" providerId="ADAL" clId="{5B0BA760-2B43-4298-83C5-7893CC90DB8E}" dt="2021-08-27T07:56:15.735" v="545" actId="478"/>
          <ac:picMkLst>
            <pc:docMk/>
            <pc:sldMk cId="440378862" sldId="303"/>
            <ac:picMk id="13" creationId="{2E630775-A55D-45BC-9AAF-DBB4864EF1D5}"/>
          </ac:picMkLst>
        </pc:picChg>
        <pc:picChg chg="add mod ord">
          <ac:chgData name="Chow, Daniel" userId="55b95bf8-e08b-452a-8e72-e591fec08000" providerId="ADAL" clId="{5B0BA760-2B43-4298-83C5-7893CC90DB8E}" dt="2021-08-28T07:36:07.949" v="2510" actId="14100"/>
          <ac:picMkLst>
            <pc:docMk/>
            <pc:sldMk cId="440378862" sldId="303"/>
            <ac:picMk id="15" creationId="{09A8DD64-EED6-4EC4-BD88-EC2D5EC4AC7E}"/>
          </ac:picMkLst>
        </pc:picChg>
        <pc:picChg chg="add mod ord">
          <ac:chgData name="Chow, Daniel" userId="55b95bf8-e08b-452a-8e72-e591fec08000" providerId="ADAL" clId="{5B0BA760-2B43-4298-83C5-7893CC90DB8E}" dt="2021-08-27T09:00:25.805" v="1767"/>
          <ac:picMkLst>
            <pc:docMk/>
            <pc:sldMk cId="440378862" sldId="303"/>
            <ac:picMk id="17" creationId="{0164C4F6-6A9A-468B-AC21-5CEB5C0F6632}"/>
          </ac:picMkLst>
        </pc:picChg>
        <pc:picChg chg="add mod">
          <ac:chgData name="Chow, Daniel" userId="55b95bf8-e08b-452a-8e72-e591fec08000" providerId="ADAL" clId="{5B0BA760-2B43-4298-83C5-7893CC90DB8E}" dt="2021-08-28T07:39:21.070" v="2523" actId="14100"/>
          <ac:picMkLst>
            <pc:docMk/>
            <pc:sldMk cId="440378862" sldId="303"/>
            <ac:picMk id="47" creationId="{255DEE95-9B40-415A-9481-36B20780062C}"/>
          </ac:picMkLst>
        </pc:picChg>
        <pc:picChg chg="add mod">
          <ac:chgData name="Chow, Daniel" userId="55b95bf8-e08b-452a-8e72-e591fec08000" providerId="ADAL" clId="{5B0BA760-2B43-4298-83C5-7893CC90DB8E}" dt="2021-08-28T07:27:18.179" v="2507" actId="1037"/>
          <ac:picMkLst>
            <pc:docMk/>
            <pc:sldMk cId="440378862" sldId="303"/>
            <ac:picMk id="48" creationId="{2AAD1417-BBC5-4DD3-9806-87E8743A8075}"/>
          </ac:picMkLst>
        </pc:picChg>
        <pc:picChg chg="add mod">
          <ac:chgData name="Chow, Daniel" userId="55b95bf8-e08b-452a-8e72-e591fec08000" providerId="ADAL" clId="{5B0BA760-2B43-4298-83C5-7893CC90DB8E}" dt="2021-08-27T09:00:25.805" v="1757"/>
          <ac:picMkLst>
            <pc:docMk/>
            <pc:sldMk cId="440378862" sldId="303"/>
            <ac:picMk id="93" creationId="{F2030398-72C8-47F2-AE8D-4E5D07A1A30D}"/>
          </ac:picMkLst>
        </pc:picChg>
        <pc:picChg chg="add del mod ord">
          <ac:chgData name="Chow, Daniel" userId="55b95bf8-e08b-452a-8e72-e591fec08000" providerId="ADAL" clId="{5B0BA760-2B43-4298-83C5-7893CC90DB8E}" dt="2021-08-28T06:29:00.976" v="2110" actId="478"/>
          <ac:picMkLst>
            <pc:docMk/>
            <pc:sldMk cId="440378862" sldId="303"/>
            <ac:picMk id="102" creationId="{C2B4E93F-D946-4A8F-9801-DC4BB3BF7D9F}"/>
          </ac:picMkLst>
        </pc:picChg>
        <pc:picChg chg="add del mod">
          <ac:chgData name="Chow, Daniel" userId="55b95bf8-e08b-452a-8e72-e591fec08000" providerId="ADAL" clId="{5B0BA760-2B43-4298-83C5-7893CC90DB8E}" dt="2021-08-27T08:46:33.813" v="971" actId="478"/>
          <ac:picMkLst>
            <pc:docMk/>
            <pc:sldMk cId="440378862" sldId="303"/>
            <ac:picMk id="103" creationId="{C3CCDAEF-F068-4261-B4E1-5E7169B2F163}"/>
          </ac:picMkLst>
        </pc:picChg>
        <pc:picChg chg="add del mod ord">
          <ac:chgData name="Chow, Daniel" userId="55b95bf8-e08b-452a-8e72-e591fec08000" providerId="ADAL" clId="{5B0BA760-2B43-4298-83C5-7893CC90DB8E}" dt="2021-08-28T06:34:08.299" v="2202" actId="478"/>
          <ac:picMkLst>
            <pc:docMk/>
            <pc:sldMk cId="440378862" sldId="303"/>
            <ac:picMk id="104" creationId="{6D04BC21-AAEA-4F97-9CEF-093831BE8CFA}"/>
          </ac:picMkLst>
        </pc:picChg>
        <pc:picChg chg="add mod ord">
          <ac:chgData name="Chow, Daniel" userId="55b95bf8-e08b-452a-8e72-e591fec08000" providerId="ADAL" clId="{5B0BA760-2B43-4298-83C5-7893CC90DB8E}" dt="2021-08-28T07:27:01.440" v="2501" actId="1076"/>
          <ac:picMkLst>
            <pc:docMk/>
            <pc:sldMk cId="440378862" sldId="303"/>
            <ac:picMk id="105" creationId="{A426D4F6-0608-4101-A9BB-4EEB97A84FF4}"/>
          </ac:picMkLst>
        </pc:picChg>
        <pc:picChg chg="add mod ord">
          <ac:chgData name="Chow, Daniel" userId="55b95bf8-e08b-452a-8e72-e591fec08000" providerId="ADAL" clId="{5B0BA760-2B43-4298-83C5-7893CC90DB8E}" dt="2021-08-28T07:39:29.156" v="2524" actId="1076"/>
          <ac:picMkLst>
            <pc:docMk/>
            <pc:sldMk cId="440378862" sldId="303"/>
            <ac:picMk id="106" creationId="{372D89B1-EB99-4662-8407-DEE77D819816}"/>
          </ac:picMkLst>
        </pc:picChg>
        <pc:picChg chg="add del mod">
          <ac:chgData name="Chow, Daniel" userId="55b95bf8-e08b-452a-8e72-e591fec08000" providerId="ADAL" clId="{5B0BA760-2B43-4298-83C5-7893CC90DB8E}" dt="2021-08-27T09:03:36.039" v="1923" actId="478"/>
          <ac:picMkLst>
            <pc:docMk/>
            <pc:sldMk cId="440378862" sldId="303"/>
            <ac:picMk id="107" creationId="{CF5FA67C-6319-4E3C-B01E-C6B6A9D45139}"/>
          </ac:picMkLst>
        </pc:picChg>
        <pc:cxnChg chg="mod ord">
          <ac:chgData name="Chow, Daniel" userId="55b95bf8-e08b-452a-8e72-e591fec08000" providerId="ADAL" clId="{5B0BA760-2B43-4298-83C5-7893CC90DB8E}" dt="2021-08-29T10:06:46.110" v="4634" actId="1038"/>
          <ac:cxnSpMkLst>
            <pc:docMk/>
            <pc:sldMk cId="440378862" sldId="303"/>
            <ac:cxnSpMk id="35" creationId="{DDFFE4DB-309D-454C-813F-88E15EE581A9}"/>
          </ac:cxnSpMkLst>
        </pc:cxnChg>
        <pc:cxnChg chg="mod ord">
          <ac:chgData name="Chow, Daniel" userId="55b95bf8-e08b-452a-8e72-e591fec08000" providerId="ADAL" clId="{5B0BA760-2B43-4298-83C5-7893CC90DB8E}" dt="2021-08-27T09:00:25.788" v="1722"/>
          <ac:cxnSpMkLst>
            <pc:docMk/>
            <pc:sldMk cId="440378862" sldId="303"/>
            <ac:cxnSpMk id="39" creationId="{FD13841D-8F84-458A-959B-49D42128A56D}"/>
          </ac:cxnSpMkLst>
        </pc:cxnChg>
      </pc:sldChg>
      <pc:sldChg chg="addSp delSp modSp del mod modNotesTx">
        <pc:chgData name="Chow, Daniel" userId="55b95bf8-e08b-452a-8e72-e591fec08000" providerId="ADAL" clId="{5B0BA760-2B43-4298-83C5-7893CC90DB8E}" dt="2021-09-03T05:21:27.960" v="20562" actId="47"/>
        <pc:sldMkLst>
          <pc:docMk/>
          <pc:sldMk cId="244967634" sldId="304"/>
        </pc:sldMkLst>
        <pc:spChg chg="add del mod ord">
          <ac:chgData name="Chow, Daniel" userId="55b95bf8-e08b-452a-8e72-e591fec08000" providerId="ADAL" clId="{5B0BA760-2B43-4298-83C5-7893CC90DB8E}" dt="2021-08-30T00:23:11.086" v="7760" actId="478"/>
          <ac:spMkLst>
            <pc:docMk/>
            <pc:sldMk cId="244967634" sldId="304"/>
            <ac:spMk id="4" creationId="{55471973-88CE-4105-B2A0-199841A172D9}"/>
          </ac:spMkLst>
        </pc:spChg>
        <pc:spChg chg="add del mod ord">
          <ac:chgData name="Chow, Daniel" userId="55b95bf8-e08b-452a-8e72-e591fec08000" providerId="ADAL" clId="{5B0BA760-2B43-4298-83C5-7893CC90DB8E}" dt="2021-08-30T01:28:14.926" v="8627" actId="478"/>
          <ac:spMkLst>
            <pc:docMk/>
            <pc:sldMk cId="244967634" sldId="304"/>
            <ac:spMk id="5" creationId="{2EFF856B-400A-47DB-8241-57F32A5247A4}"/>
          </ac:spMkLst>
        </pc:spChg>
        <pc:spChg chg="add mod">
          <ac:chgData name="Chow, Daniel" userId="55b95bf8-e08b-452a-8e72-e591fec08000" providerId="ADAL" clId="{5B0BA760-2B43-4298-83C5-7893CC90DB8E}" dt="2021-08-30T01:17:10.108" v="8320" actId="1076"/>
          <ac:spMkLst>
            <pc:docMk/>
            <pc:sldMk cId="244967634" sldId="304"/>
            <ac:spMk id="8" creationId="{21E38068-E019-4D35-9D97-F0D5507E75C3}"/>
          </ac:spMkLst>
        </pc:spChg>
        <pc:spChg chg="add del mod">
          <ac:chgData name="Chow, Daniel" userId="55b95bf8-e08b-452a-8e72-e591fec08000" providerId="ADAL" clId="{5B0BA760-2B43-4298-83C5-7893CC90DB8E}" dt="2021-08-27T05:56:01.346" v="390" actId="478"/>
          <ac:spMkLst>
            <pc:docMk/>
            <pc:sldMk cId="244967634" sldId="304"/>
            <ac:spMk id="8" creationId="{6B15B0BE-DD61-4EE5-AB94-37BB52DE3E07}"/>
          </ac:spMkLst>
        </pc:spChg>
        <pc:spChg chg="add del mod ord">
          <ac:chgData name="Chow, Daniel" userId="55b95bf8-e08b-452a-8e72-e591fec08000" providerId="ADAL" clId="{5B0BA760-2B43-4298-83C5-7893CC90DB8E}" dt="2021-08-29T12:29:45.914" v="7542" actId="478"/>
          <ac:spMkLst>
            <pc:docMk/>
            <pc:sldMk cId="244967634" sldId="304"/>
            <ac:spMk id="9" creationId="{6AA5F38C-BC05-4A85-8D29-9733E50EBDAF}"/>
          </ac:spMkLst>
        </pc:spChg>
        <pc:spChg chg="add del mod">
          <ac:chgData name="Chow, Daniel" userId="55b95bf8-e08b-452a-8e72-e591fec08000" providerId="ADAL" clId="{5B0BA760-2B43-4298-83C5-7893CC90DB8E}" dt="2021-08-30T01:04:35.577" v="7902" actId="478"/>
          <ac:spMkLst>
            <pc:docMk/>
            <pc:sldMk cId="244967634" sldId="304"/>
            <ac:spMk id="9" creationId="{7515001B-FE74-4B6B-BCCB-8750910E1720}"/>
          </ac:spMkLst>
        </pc:spChg>
        <pc:spChg chg="add mod ord">
          <ac:chgData name="Chow, Daniel" userId="55b95bf8-e08b-452a-8e72-e591fec08000" providerId="ADAL" clId="{5B0BA760-2B43-4298-83C5-7893CC90DB8E}" dt="2021-08-30T06:07:50.684" v="9094"/>
          <ac:spMkLst>
            <pc:docMk/>
            <pc:sldMk cId="244967634" sldId="304"/>
            <ac:spMk id="10" creationId="{508CD5D5-594A-4ED2-A5C0-B351DC6C9BC0}"/>
          </ac:spMkLst>
        </pc:spChg>
        <pc:spChg chg="add mod">
          <ac:chgData name="Chow, Daniel" userId="55b95bf8-e08b-452a-8e72-e591fec08000" providerId="ADAL" clId="{5B0BA760-2B43-4298-83C5-7893CC90DB8E}" dt="2021-08-30T01:08:13.697" v="7993" actId="1076"/>
          <ac:spMkLst>
            <pc:docMk/>
            <pc:sldMk cId="244967634" sldId="304"/>
            <ac:spMk id="11" creationId="{9144DFEA-541E-4D17-8C27-36F9EEF07A0B}"/>
          </ac:spMkLst>
        </pc:spChg>
        <pc:spChg chg="mod">
          <ac:chgData name="Chow, Daniel" userId="55b95bf8-e08b-452a-8e72-e591fec08000" providerId="ADAL" clId="{5B0BA760-2B43-4298-83C5-7893CC90DB8E}" dt="2021-08-28T10:41:50.064" v="3797"/>
          <ac:spMkLst>
            <pc:docMk/>
            <pc:sldMk cId="244967634" sldId="304"/>
            <ac:spMk id="12" creationId="{B406F4CC-1444-447A-8453-618DCB95F127}"/>
          </ac:spMkLst>
        </pc:spChg>
        <pc:spChg chg="mod">
          <ac:chgData name="Chow, Daniel" userId="55b95bf8-e08b-452a-8e72-e591fec08000" providerId="ADAL" clId="{5B0BA760-2B43-4298-83C5-7893CC90DB8E}" dt="2021-08-28T10:41:50.064" v="3797"/>
          <ac:spMkLst>
            <pc:docMk/>
            <pc:sldMk cId="244967634" sldId="304"/>
            <ac:spMk id="13" creationId="{C40A4AA5-6EF9-44F6-AB3F-1EBB81BE81E0}"/>
          </ac:spMkLst>
        </pc:spChg>
        <pc:spChg chg="mod">
          <ac:chgData name="Chow, Daniel" userId="55b95bf8-e08b-452a-8e72-e591fec08000" providerId="ADAL" clId="{5B0BA760-2B43-4298-83C5-7893CC90DB8E}" dt="2021-08-28T10:41:50.064" v="3797"/>
          <ac:spMkLst>
            <pc:docMk/>
            <pc:sldMk cId="244967634" sldId="304"/>
            <ac:spMk id="14" creationId="{6CF3BF17-FA0C-4858-8D1E-AC693872AB54}"/>
          </ac:spMkLst>
        </pc:spChg>
        <pc:spChg chg="mod">
          <ac:chgData name="Chow, Daniel" userId="55b95bf8-e08b-452a-8e72-e591fec08000" providerId="ADAL" clId="{5B0BA760-2B43-4298-83C5-7893CC90DB8E}" dt="2021-08-28T10:41:50.064" v="3797"/>
          <ac:spMkLst>
            <pc:docMk/>
            <pc:sldMk cId="244967634" sldId="304"/>
            <ac:spMk id="15" creationId="{22C727AF-2517-4AF9-A393-54D75C904A02}"/>
          </ac:spMkLst>
        </pc:spChg>
        <pc:spChg chg="add del mod">
          <ac:chgData name="Chow, Daniel" userId="55b95bf8-e08b-452a-8e72-e591fec08000" providerId="ADAL" clId="{5B0BA760-2B43-4298-83C5-7893CC90DB8E}" dt="2021-08-29T10:23:59.778" v="4643" actId="478"/>
          <ac:spMkLst>
            <pc:docMk/>
            <pc:sldMk cId="244967634" sldId="304"/>
            <ac:spMk id="15" creationId="{98B456D7-027E-417E-A607-0C7BCE5AB35A}"/>
          </ac:spMkLst>
        </pc:spChg>
        <pc:spChg chg="mod">
          <ac:chgData name="Chow, Daniel" userId="55b95bf8-e08b-452a-8e72-e591fec08000" providerId="ADAL" clId="{5B0BA760-2B43-4298-83C5-7893CC90DB8E}" dt="2021-08-28T12:04:04.588" v="4293" actId="207"/>
          <ac:spMkLst>
            <pc:docMk/>
            <pc:sldMk cId="244967634" sldId="304"/>
            <ac:spMk id="17" creationId="{FFDBC44A-2ED9-4DAE-8001-C54F1ACBF4B9}"/>
          </ac:spMkLst>
        </pc:spChg>
        <pc:spChg chg="mod">
          <ac:chgData name="Chow, Daniel" userId="55b95bf8-e08b-452a-8e72-e591fec08000" providerId="ADAL" clId="{5B0BA760-2B43-4298-83C5-7893CC90DB8E}" dt="2021-08-28T12:04:04.588" v="4293" actId="207"/>
          <ac:spMkLst>
            <pc:docMk/>
            <pc:sldMk cId="244967634" sldId="304"/>
            <ac:spMk id="18" creationId="{8BDE447A-4954-4AED-B21D-24BD0B817445}"/>
          </ac:spMkLst>
        </pc:spChg>
        <pc:spChg chg="mod">
          <ac:chgData name="Chow, Daniel" userId="55b95bf8-e08b-452a-8e72-e591fec08000" providerId="ADAL" clId="{5B0BA760-2B43-4298-83C5-7893CC90DB8E}" dt="2021-08-28T12:04:04.588" v="4293" actId="207"/>
          <ac:spMkLst>
            <pc:docMk/>
            <pc:sldMk cId="244967634" sldId="304"/>
            <ac:spMk id="19" creationId="{2AB9FEB6-4EB1-4154-948C-188E665B9C7C}"/>
          </ac:spMkLst>
        </pc:spChg>
        <pc:spChg chg="mod">
          <ac:chgData name="Chow, Daniel" userId="55b95bf8-e08b-452a-8e72-e591fec08000" providerId="ADAL" clId="{5B0BA760-2B43-4298-83C5-7893CC90DB8E}" dt="2021-08-28T12:04:04.588" v="4293" actId="207"/>
          <ac:spMkLst>
            <pc:docMk/>
            <pc:sldMk cId="244967634" sldId="304"/>
            <ac:spMk id="20" creationId="{D0A51C40-AD02-4200-A5CB-F132BC395E6E}"/>
          </ac:spMkLst>
        </pc:spChg>
        <pc:spChg chg="add del mod">
          <ac:chgData name="Chow, Daniel" userId="55b95bf8-e08b-452a-8e72-e591fec08000" providerId="ADAL" clId="{5B0BA760-2B43-4298-83C5-7893CC90DB8E}" dt="2021-08-29T10:06:45.024" v="4629"/>
          <ac:spMkLst>
            <pc:docMk/>
            <pc:sldMk cId="244967634" sldId="304"/>
            <ac:spMk id="21" creationId="{403C64DF-ACE8-4D80-B017-F0620B1B4F0A}"/>
          </ac:spMkLst>
        </pc:spChg>
        <pc:spChg chg="add del mod">
          <ac:chgData name="Chow, Daniel" userId="55b95bf8-e08b-452a-8e72-e591fec08000" providerId="ADAL" clId="{5B0BA760-2B43-4298-83C5-7893CC90DB8E}" dt="2021-08-29T10:37:03.785" v="5242" actId="478"/>
          <ac:spMkLst>
            <pc:docMk/>
            <pc:sldMk cId="244967634" sldId="304"/>
            <ac:spMk id="23" creationId="{C06406AD-5029-410F-AF14-7F98E87B1E1B}"/>
          </ac:spMkLst>
        </pc:spChg>
        <pc:spChg chg="add del mod">
          <ac:chgData name="Chow, Daniel" userId="55b95bf8-e08b-452a-8e72-e591fec08000" providerId="ADAL" clId="{5B0BA760-2B43-4298-83C5-7893CC90DB8E}" dt="2021-08-29T11:20:10.286" v="6957" actId="478"/>
          <ac:spMkLst>
            <pc:docMk/>
            <pc:sldMk cId="244967634" sldId="304"/>
            <ac:spMk id="24" creationId="{F5C4A421-269C-4520-A6EF-9DB906875FC9}"/>
          </ac:spMkLst>
        </pc:spChg>
        <pc:spChg chg="add mod ord">
          <ac:chgData name="Chow, Daniel" userId="55b95bf8-e08b-452a-8e72-e591fec08000" providerId="ADAL" clId="{5B0BA760-2B43-4298-83C5-7893CC90DB8E}" dt="2021-08-30T08:59:01.982" v="10364" actId="20577"/>
          <ac:spMkLst>
            <pc:docMk/>
            <pc:sldMk cId="244967634" sldId="304"/>
            <ac:spMk id="25" creationId="{7211D90B-3865-4B69-A265-5F6E8BA5D013}"/>
          </ac:spMkLst>
        </pc:spChg>
        <pc:spChg chg="add mod ord">
          <ac:chgData name="Chow, Daniel" userId="55b95bf8-e08b-452a-8e72-e591fec08000" providerId="ADAL" clId="{5B0BA760-2B43-4298-83C5-7893CC90DB8E}" dt="2021-08-30T06:07:50.688" v="9102"/>
          <ac:spMkLst>
            <pc:docMk/>
            <pc:sldMk cId="244967634" sldId="304"/>
            <ac:spMk id="26" creationId="{D4DB5C19-61C5-4A92-9A5B-A5D198E17328}"/>
          </ac:spMkLst>
        </pc:spChg>
        <pc:spChg chg="add del mod">
          <ac:chgData name="Chow, Daniel" userId="55b95bf8-e08b-452a-8e72-e591fec08000" providerId="ADAL" clId="{5B0BA760-2B43-4298-83C5-7893CC90DB8E}" dt="2021-08-29T11:08:56.969" v="6445" actId="478"/>
          <ac:spMkLst>
            <pc:docMk/>
            <pc:sldMk cId="244967634" sldId="304"/>
            <ac:spMk id="27" creationId="{5D029269-3FE0-4E80-B7D5-4FE149BF442B}"/>
          </ac:spMkLst>
        </pc:spChg>
        <pc:spChg chg="add del mod ord">
          <ac:chgData name="Chow, Daniel" userId="55b95bf8-e08b-452a-8e72-e591fec08000" providerId="ADAL" clId="{5B0BA760-2B43-4298-83C5-7893CC90DB8E}" dt="2021-08-30T01:11:15.146" v="8046" actId="478"/>
          <ac:spMkLst>
            <pc:docMk/>
            <pc:sldMk cId="244967634" sldId="304"/>
            <ac:spMk id="28" creationId="{002BB89D-11B4-460B-817F-D797E4B114A1}"/>
          </ac:spMkLst>
        </pc:spChg>
        <pc:spChg chg="add del mod ord">
          <ac:chgData name="Chow, Daniel" userId="55b95bf8-e08b-452a-8e72-e591fec08000" providerId="ADAL" clId="{5B0BA760-2B43-4298-83C5-7893CC90DB8E}" dt="2021-08-30T01:00:39.433" v="7821" actId="478"/>
          <ac:spMkLst>
            <pc:docMk/>
            <pc:sldMk cId="244967634" sldId="304"/>
            <ac:spMk id="29" creationId="{D7B25E09-CE6A-43FB-B1B8-8C23594274CB}"/>
          </ac:spMkLst>
        </pc:spChg>
        <pc:spChg chg="add del mod ord">
          <ac:chgData name="Chow, Daniel" userId="55b95bf8-e08b-452a-8e72-e591fec08000" providerId="ADAL" clId="{5B0BA760-2B43-4298-83C5-7893CC90DB8E}" dt="2021-08-30T01:11:12.234" v="8045" actId="478"/>
          <ac:spMkLst>
            <pc:docMk/>
            <pc:sldMk cId="244967634" sldId="304"/>
            <ac:spMk id="30" creationId="{4761B246-54F6-4715-89B5-F35000F799BD}"/>
          </ac:spMkLst>
        </pc:spChg>
        <pc:spChg chg="add del mod ord">
          <ac:chgData name="Chow, Daniel" userId="55b95bf8-e08b-452a-8e72-e591fec08000" providerId="ADAL" clId="{5B0BA760-2B43-4298-83C5-7893CC90DB8E}" dt="2021-08-30T01:00:38.056" v="7820" actId="478"/>
          <ac:spMkLst>
            <pc:docMk/>
            <pc:sldMk cId="244967634" sldId="304"/>
            <ac:spMk id="32" creationId="{44BD8251-882A-440F-BCEB-2AF1C754E95F}"/>
          </ac:spMkLst>
        </pc:spChg>
        <pc:spChg chg="add del mod ord">
          <ac:chgData name="Chow, Daniel" userId="55b95bf8-e08b-452a-8e72-e591fec08000" providerId="ADAL" clId="{5B0BA760-2B43-4298-83C5-7893CC90DB8E}" dt="2021-08-30T01:12:34.106" v="8237" actId="478"/>
          <ac:spMkLst>
            <pc:docMk/>
            <pc:sldMk cId="244967634" sldId="304"/>
            <ac:spMk id="33" creationId="{F4604D5D-6AD3-4913-8CC0-494C52D01EAB}"/>
          </ac:spMkLst>
        </pc:spChg>
        <pc:spChg chg="add del mod ord">
          <ac:chgData name="Chow, Daniel" userId="55b95bf8-e08b-452a-8e72-e591fec08000" providerId="ADAL" clId="{5B0BA760-2B43-4298-83C5-7893CC90DB8E}" dt="2021-08-30T01:00:40.288" v="7822" actId="478"/>
          <ac:spMkLst>
            <pc:docMk/>
            <pc:sldMk cId="244967634" sldId="304"/>
            <ac:spMk id="34" creationId="{83F1A59E-94F3-41A3-860D-AF5ECA543FDC}"/>
          </ac:spMkLst>
        </pc:spChg>
        <pc:spChg chg="mod ord">
          <ac:chgData name="Chow, Daniel" userId="55b95bf8-e08b-452a-8e72-e591fec08000" providerId="ADAL" clId="{5B0BA760-2B43-4298-83C5-7893CC90DB8E}" dt="2021-08-30T06:07:50.683" v="9092"/>
          <ac:spMkLst>
            <pc:docMk/>
            <pc:sldMk cId="244967634" sldId="304"/>
            <ac:spMk id="36" creationId="{4539A0AD-E13A-4743-95CB-3F8CC7BE272C}"/>
          </ac:spMkLst>
        </pc:spChg>
        <pc:spChg chg="add mod ord">
          <ac:chgData name="Chow, Daniel" userId="55b95bf8-e08b-452a-8e72-e591fec08000" providerId="ADAL" clId="{5B0BA760-2B43-4298-83C5-7893CC90DB8E}" dt="2021-08-30T06:07:50.689" v="9104"/>
          <ac:spMkLst>
            <pc:docMk/>
            <pc:sldMk cId="244967634" sldId="304"/>
            <ac:spMk id="37" creationId="{9DDB056D-6445-462F-BD1B-7517AB777469}"/>
          </ac:spMkLst>
        </pc:spChg>
        <pc:spChg chg="mod ord">
          <ac:chgData name="Chow, Daniel" userId="55b95bf8-e08b-452a-8e72-e591fec08000" providerId="ADAL" clId="{5B0BA760-2B43-4298-83C5-7893CC90DB8E}" dt="2021-08-30T06:07:50.681" v="9086"/>
          <ac:spMkLst>
            <pc:docMk/>
            <pc:sldMk cId="244967634" sldId="304"/>
            <ac:spMk id="40" creationId="{447C7108-5217-4CC8-A557-C124949439AD}"/>
          </ac:spMkLst>
        </pc:spChg>
        <pc:spChg chg="add mod ord">
          <ac:chgData name="Chow, Daniel" userId="55b95bf8-e08b-452a-8e72-e591fec08000" providerId="ADAL" clId="{5B0BA760-2B43-4298-83C5-7893CC90DB8E}" dt="2021-08-30T06:07:50.693" v="9114"/>
          <ac:spMkLst>
            <pc:docMk/>
            <pc:sldMk cId="244967634" sldId="304"/>
            <ac:spMk id="42" creationId="{3714EC5C-64BB-4F59-8774-ED50735396DF}"/>
          </ac:spMkLst>
        </pc:spChg>
        <pc:spChg chg="add del mod">
          <ac:chgData name="Chow, Daniel" userId="55b95bf8-e08b-452a-8e72-e591fec08000" providerId="ADAL" clId="{5B0BA760-2B43-4298-83C5-7893CC90DB8E}" dt="2021-08-30T00:21:02.828" v="7703" actId="478"/>
          <ac:spMkLst>
            <pc:docMk/>
            <pc:sldMk cId="244967634" sldId="304"/>
            <ac:spMk id="43" creationId="{139A6864-E90D-40A4-97A1-A2DA573DAB1F}"/>
          </ac:spMkLst>
        </pc:spChg>
        <pc:spChg chg="mod ord">
          <ac:chgData name="Chow, Daniel" userId="55b95bf8-e08b-452a-8e72-e591fec08000" providerId="ADAL" clId="{5B0BA760-2B43-4298-83C5-7893CC90DB8E}" dt="2021-08-30T06:07:50.682" v="9088"/>
          <ac:spMkLst>
            <pc:docMk/>
            <pc:sldMk cId="244967634" sldId="304"/>
            <ac:spMk id="44" creationId="{59301ECD-394D-4188-88D0-72B3AA7A7A3F}"/>
          </ac:spMkLst>
        </pc:spChg>
        <pc:spChg chg="add mod ord">
          <ac:chgData name="Chow, Daniel" userId="55b95bf8-e08b-452a-8e72-e591fec08000" providerId="ADAL" clId="{5B0BA760-2B43-4298-83C5-7893CC90DB8E}" dt="2021-08-30T01:16:14.879" v="8307" actId="164"/>
          <ac:spMkLst>
            <pc:docMk/>
            <pc:sldMk cId="244967634" sldId="304"/>
            <ac:spMk id="45" creationId="{22B2989D-4572-4654-9651-90E91BDB425B}"/>
          </ac:spMkLst>
        </pc:spChg>
        <pc:spChg chg="add mod ord">
          <ac:chgData name="Chow, Daniel" userId="55b95bf8-e08b-452a-8e72-e591fec08000" providerId="ADAL" clId="{5B0BA760-2B43-4298-83C5-7893CC90DB8E}" dt="2021-08-30T01:16:14.879" v="8307" actId="164"/>
          <ac:spMkLst>
            <pc:docMk/>
            <pc:sldMk cId="244967634" sldId="304"/>
            <ac:spMk id="46" creationId="{709481B8-ADA7-4E3D-A02C-CF1FB9F048C6}"/>
          </ac:spMkLst>
        </pc:spChg>
        <pc:spChg chg="mod">
          <ac:chgData name="Chow, Daniel" userId="55b95bf8-e08b-452a-8e72-e591fec08000" providerId="ADAL" clId="{5B0BA760-2B43-4298-83C5-7893CC90DB8E}" dt="2021-08-30T10:01:50.502" v="10524" actId="1076"/>
          <ac:spMkLst>
            <pc:docMk/>
            <pc:sldMk cId="244967634" sldId="304"/>
            <ac:spMk id="48" creationId="{53761030-984E-44EE-B4D2-10925A2259DC}"/>
          </ac:spMkLst>
        </pc:spChg>
        <pc:spChg chg="mod">
          <ac:chgData name="Chow, Daniel" userId="55b95bf8-e08b-452a-8e72-e591fec08000" providerId="ADAL" clId="{5B0BA760-2B43-4298-83C5-7893CC90DB8E}" dt="2021-08-30T01:20:32.125" v="8447" actId="1076"/>
          <ac:spMkLst>
            <pc:docMk/>
            <pc:sldMk cId="244967634" sldId="304"/>
            <ac:spMk id="49" creationId="{5AFD71C7-107C-494F-B960-5B08AD2E9294}"/>
          </ac:spMkLst>
        </pc:spChg>
        <pc:spChg chg="mod topLvl">
          <ac:chgData name="Chow, Daniel" userId="55b95bf8-e08b-452a-8e72-e591fec08000" providerId="ADAL" clId="{5B0BA760-2B43-4298-83C5-7893CC90DB8E}" dt="2021-08-30T05:01:12.979" v="8849" actId="14100"/>
          <ac:spMkLst>
            <pc:docMk/>
            <pc:sldMk cId="244967634" sldId="304"/>
            <ac:spMk id="51" creationId="{5885BDA0-D9EC-4493-AD10-CA2DA144A91A}"/>
          </ac:spMkLst>
        </pc:spChg>
        <pc:spChg chg="del mod topLvl">
          <ac:chgData name="Chow, Daniel" userId="55b95bf8-e08b-452a-8e72-e591fec08000" providerId="ADAL" clId="{5B0BA760-2B43-4298-83C5-7893CC90DB8E}" dt="2021-08-30T01:14:08.789" v="8280" actId="478"/>
          <ac:spMkLst>
            <pc:docMk/>
            <pc:sldMk cId="244967634" sldId="304"/>
            <ac:spMk id="52" creationId="{64CD61B7-BBDD-473C-9750-0C95C49305C6}"/>
          </ac:spMkLst>
        </pc:spChg>
        <pc:spChg chg="add mod ord">
          <ac:chgData name="Chow, Daniel" userId="55b95bf8-e08b-452a-8e72-e591fec08000" providerId="ADAL" clId="{5B0BA760-2B43-4298-83C5-7893CC90DB8E}" dt="2021-08-30T06:07:50.691" v="9108"/>
          <ac:spMkLst>
            <pc:docMk/>
            <pc:sldMk cId="244967634" sldId="304"/>
            <ac:spMk id="53" creationId="{B5D43AAC-258D-42D5-A59F-9949128BF46D}"/>
          </ac:spMkLst>
        </pc:spChg>
        <pc:spChg chg="add del mod">
          <ac:chgData name="Chow, Daniel" userId="55b95bf8-e08b-452a-8e72-e591fec08000" providerId="ADAL" clId="{5B0BA760-2B43-4298-83C5-7893CC90DB8E}" dt="2021-08-30T01:27:39.534" v="8620" actId="478"/>
          <ac:spMkLst>
            <pc:docMk/>
            <pc:sldMk cId="244967634" sldId="304"/>
            <ac:spMk id="54" creationId="{15D38EF8-6AC4-4FFE-8321-DD4B5291CA1C}"/>
          </ac:spMkLst>
        </pc:spChg>
        <pc:spChg chg="add mod ord">
          <ac:chgData name="Chow, Daniel" userId="55b95bf8-e08b-452a-8e72-e591fec08000" providerId="ADAL" clId="{5B0BA760-2B43-4298-83C5-7893CC90DB8E}" dt="2021-08-30T09:02:06.070" v="10403" actId="1076"/>
          <ac:spMkLst>
            <pc:docMk/>
            <pc:sldMk cId="244967634" sldId="304"/>
            <ac:spMk id="55" creationId="{EED6FEA5-1842-4F91-A3E5-D9D8067A3805}"/>
          </ac:spMkLst>
        </pc:spChg>
        <pc:spChg chg="add mod">
          <ac:chgData name="Chow, Daniel" userId="55b95bf8-e08b-452a-8e72-e591fec08000" providerId="ADAL" clId="{5B0BA760-2B43-4298-83C5-7893CC90DB8E}" dt="2021-08-30T05:46:47.296" v="8902" actId="14100"/>
          <ac:spMkLst>
            <pc:docMk/>
            <pc:sldMk cId="244967634" sldId="304"/>
            <ac:spMk id="60" creationId="{21526A85-0CBF-43EA-AA4A-C1F67F4DF5FC}"/>
          </ac:spMkLst>
        </pc:spChg>
        <pc:grpChg chg="add del mod">
          <ac:chgData name="Chow, Daniel" userId="55b95bf8-e08b-452a-8e72-e591fec08000" providerId="ADAL" clId="{5B0BA760-2B43-4298-83C5-7893CC90DB8E}" dt="2021-08-28T10:42:03.203" v="3799" actId="478"/>
          <ac:grpSpMkLst>
            <pc:docMk/>
            <pc:sldMk cId="244967634" sldId="304"/>
            <ac:grpSpMk id="11" creationId="{79F58C10-64F6-4788-835D-67D24A0ADE75}"/>
          </ac:grpSpMkLst>
        </pc:grpChg>
        <pc:grpChg chg="add mod ord">
          <ac:chgData name="Chow, Daniel" userId="55b95bf8-e08b-452a-8e72-e591fec08000" providerId="ADAL" clId="{5B0BA760-2B43-4298-83C5-7893CC90DB8E}" dt="2021-08-30T01:16:14.879" v="8307" actId="164"/>
          <ac:grpSpMkLst>
            <pc:docMk/>
            <pc:sldMk cId="244967634" sldId="304"/>
            <ac:grpSpMk id="12" creationId="{23B519B5-E97F-4F0A-B7E6-490475CA94F8}"/>
          </ac:grpSpMkLst>
        </pc:grpChg>
        <pc:grpChg chg="add mod ord">
          <ac:chgData name="Chow, Daniel" userId="55b95bf8-e08b-452a-8e72-e591fec08000" providerId="ADAL" clId="{5B0BA760-2B43-4298-83C5-7893CC90DB8E}" dt="2021-08-30T06:07:50.690" v="9106"/>
          <ac:grpSpMkLst>
            <pc:docMk/>
            <pc:sldMk cId="244967634" sldId="304"/>
            <ac:grpSpMk id="13" creationId="{67E6C33F-D3A9-4F7B-B56A-8BE27FF97DF1}"/>
          </ac:grpSpMkLst>
        </pc:grpChg>
        <pc:grpChg chg="add mod ord">
          <ac:chgData name="Chow, Daniel" userId="55b95bf8-e08b-452a-8e72-e591fec08000" providerId="ADAL" clId="{5B0BA760-2B43-4298-83C5-7893CC90DB8E}" dt="2021-08-30T06:07:50.684" v="9096"/>
          <ac:grpSpMkLst>
            <pc:docMk/>
            <pc:sldMk cId="244967634" sldId="304"/>
            <ac:grpSpMk id="16" creationId="{6BC25E4C-F7B8-4777-B48F-D2416FBDB4DA}"/>
          </ac:grpSpMkLst>
        </pc:grpChg>
        <pc:grpChg chg="add mod ord">
          <ac:chgData name="Chow, Daniel" userId="55b95bf8-e08b-452a-8e72-e591fec08000" providerId="ADAL" clId="{5B0BA760-2B43-4298-83C5-7893CC90DB8E}" dt="2021-08-30T01:16:14.879" v="8307" actId="164"/>
          <ac:grpSpMkLst>
            <pc:docMk/>
            <pc:sldMk cId="244967634" sldId="304"/>
            <ac:grpSpMk id="47" creationId="{2B8A1D2B-B1BA-4440-BF04-9AAFA4B48E81}"/>
          </ac:grpSpMkLst>
        </pc:grpChg>
        <pc:grpChg chg="add del mod">
          <ac:chgData name="Chow, Daniel" userId="55b95bf8-e08b-452a-8e72-e591fec08000" providerId="ADAL" clId="{5B0BA760-2B43-4298-83C5-7893CC90DB8E}" dt="2021-08-30T01:14:08.789" v="8280" actId="478"/>
          <ac:grpSpMkLst>
            <pc:docMk/>
            <pc:sldMk cId="244967634" sldId="304"/>
            <ac:grpSpMk id="50" creationId="{21EEC28E-D7D9-458C-9E78-DC393258E77B}"/>
          </ac:grpSpMkLst>
        </pc:grpChg>
        <pc:grpChg chg="add mod ord">
          <ac:chgData name="Chow, Daniel" userId="55b95bf8-e08b-452a-8e72-e591fec08000" providerId="ADAL" clId="{5B0BA760-2B43-4298-83C5-7893CC90DB8E}" dt="2021-08-30T06:07:50.693" v="9116"/>
          <ac:grpSpMkLst>
            <pc:docMk/>
            <pc:sldMk cId="244967634" sldId="304"/>
            <ac:grpSpMk id="58" creationId="{242FCDF3-617A-47F6-9FFB-0005920C8116}"/>
          </ac:grpSpMkLst>
        </pc:grpChg>
        <pc:graphicFrameChg chg="add mod ord modGraphic">
          <ac:chgData name="Chow, Daniel" userId="55b95bf8-e08b-452a-8e72-e591fec08000" providerId="ADAL" clId="{5B0BA760-2B43-4298-83C5-7893CC90DB8E}" dt="2021-08-30T06:07:50.685" v="9098"/>
          <ac:graphicFrameMkLst>
            <pc:docMk/>
            <pc:sldMk cId="244967634" sldId="304"/>
            <ac:graphicFrameMk id="22" creationId="{481DB45C-9A20-46B7-AD85-647FEF1A5B48}"/>
          </ac:graphicFrameMkLst>
        </pc:graphicFrameChg>
        <pc:graphicFrameChg chg="mod">
          <ac:chgData name="Chow, Daniel" userId="55b95bf8-e08b-452a-8e72-e591fec08000" providerId="ADAL" clId="{5B0BA760-2B43-4298-83C5-7893CC90DB8E}" dt="2021-08-30T06:07:50.695" v="9119"/>
          <ac:graphicFrameMkLst>
            <pc:docMk/>
            <pc:sldMk cId="244967634" sldId="304"/>
            <ac:graphicFrameMk id="31" creationId="{EBC077DF-B1E4-484C-98A3-8570C24A382B}"/>
          </ac:graphicFrameMkLst>
        </pc:graphicFrameChg>
        <pc:graphicFrameChg chg="add del mod ord">
          <ac:chgData name="Chow, Daniel" userId="55b95bf8-e08b-452a-8e72-e591fec08000" providerId="ADAL" clId="{5B0BA760-2B43-4298-83C5-7893CC90DB8E}" dt="2021-08-30T05:45:08.747" v="8884" actId="478"/>
          <ac:graphicFrameMkLst>
            <pc:docMk/>
            <pc:sldMk cId="244967634" sldId="304"/>
            <ac:graphicFrameMk id="38" creationId="{94535CB7-DA9F-473C-A628-9834775B7166}"/>
          </ac:graphicFrameMkLst>
        </pc:graphicFrameChg>
        <pc:graphicFrameChg chg="add mod">
          <ac:chgData name="Chow, Daniel" userId="55b95bf8-e08b-452a-8e72-e591fec08000" providerId="ADAL" clId="{5B0BA760-2B43-4298-83C5-7893CC90DB8E}" dt="2021-08-30T06:09:11.646" v="9142" actId="20577"/>
          <ac:graphicFrameMkLst>
            <pc:docMk/>
            <pc:sldMk cId="244967634" sldId="304"/>
            <ac:graphicFrameMk id="59" creationId="{62549745-864C-4EA1-96D0-AA43F75EF5CE}"/>
          </ac:graphicFrameMkLst>
        </pc:graphicFrameChg>
        <pc:picChg chg="add del mod">
          <ac:chgData name="Chow, Daniel" userId="55b95bf8-e08b-452a-8e72-e591fec08000" providerId="ADAL" clId="{5B0BA760-2B43-4298-83C5-7893CC90DB8E}" dt="2021-08-29T10:35:25.693" v="5102" actId="478"/>
          <ac:picMkLst>
            <pc:docMk/>
            <pc:sldMk cId="244967634" sldId="304"/>
            <ac:picMk id="3" creationId="{8632BEB7-B5AF-45CE-BBCC-52E945102EB5}"/>
          </ac:picMkLst>
        </pc:picChg>
        <pc:picChg chg="add mod ord">
          <ac:chgData name="Chow, Daniel" userId="55b95bf8-e08b-452a-8e72-e591fec08000" providerId="ADAL" clId="{5B0BA760-2B43-4298-83C5-7893CC90DB8E}" dt="2021-08-30T06:07:54.375" v="9120" actId="1076"/>
          <ac:picMkLst>
            <pc:docMk/>
            <pc:sldMk cId="244967634" sldId="304"/>
            <ac:picMk id="3" creationId="{E7048A98-8B75-4320-B3C9-EED2F34075B5}"/>
          </ac:picMkLst>
        </pc:picChg>
        <pc:picChg chg="add mod ord">
          <ac:chgData name="Chow, Daniel" userId="55b95bf8-e08b-452a-8e72-e591fec08000" providerId="ADAL" clId="{5B0BA760-2B43-4298-83C5-7893CC90DB8E}" dt="2021-08-30T01:16:14.879" v="8307" actId="164"/>
          <ac:picMkLst>
            <pc:docMk/>
            <pc:sldMk cId="244967634" sldId="304"/>
            <ac:picMk id="7" creationId="{C7E164D1-FFA2-4D3B-BDDD-280FB34E8515}"/>
          </ac:picMkLst>
        </pc:picChg>
        <pc:picChg chg="add del mod">
          <ac:chgData name="Chow, Daniel" userId="55b95bf8-e08b-452a-8e72-e591fec08000" providerId="ADAL" clId="{5B0BA760-2B43-4298-83C5-7893CC90DB8E}" dt="2021-08-30T04:53:31.860" v="8789" actId="478"/>
          <ac:picMkLst>
            <pc:docMk/>
            <pc:sldMk cId="244967634" sldId="304"/>
            <ac:picMk id="15" creationId="{E879E687-7C35-40D7-BE19-413B2B66D766}"/>
          </ac:picMkLst>
        </pc:picChg>
        <pc:picChg chg="add mod ord">
          <ac:chgData name="Chow, Daniel" userId="55b95bf8-e08b-452a-8e72-e591fec08000" providerId="ADAL" clId="{5B0BA760-2B43-4298-83C5-7893CC90DB8E}" dt="2021-08-30T06:07:50.692" v="9112"/>
          <ac:picMkLst>
            <pc:docMk/>
            <pc:sldMk cId="244967634" sldId="304"/>
            <ac:picMk id="23" creationId="{78E27FB3-C910-48CA-ADF9-02CDA7BFF082}"/>
          </ac:picMkLst>
        </pc:picChg>
        <pc:picChg chg="add del mod">
          <ac:chgData name="Chow, Daniel" userId="55b95bf8-e08b-452a-8e72-e591fec08000" providerId="ADAL" clId="{5B0BA760-2B43-4298-83C5-7893CC90DB8E}" dt="2021-08-30T05:30:10.881" v="8873" actId="478"/>
          <ac:picMkLst>
            <pc:docMk/>
            <pc:sldMk cId="244967634" sldId="304"/>
            <ac:picMk id="27" creationId="{FAE03334-F321-4D4B-9A98-12205B2A1DE5}"/>
          </ac:picMkLst>
        </pc:picChg>
        <pc:picChg chg="add del mod">
          <ac:chgData name="Chow, Daniel" userId="55b95bf8-e08b-452a-8e72-e591fec08000" providerId="ADAL" clId="{5B0BA760-2B43-4298-83C5-7893CC90DB8E}" dt="2021-08-30T04:52:45.407" v="8784" actId="478"/>
          <ac:picMkLst>
            <pc:docMk/>
            <pc:sldMk cId="244967634" sldId="304"/>
            <ac:picMk id="41" creationId="{3EF2FE2E-32F4-4B3C-9A87-D96FDDC373A5}"/>
          </ac:picMkLst>
        </pc:picChg>
        <pc:picChg chg="add del mod">
          <ac:chgData name="Chow, Daniel" userId="55b95bf8-e08b-452a-8e72-e591fec08000" providerId="ADAL" clId="{5B0BA760-2B43-4298-83C5-7893CC90DB8E}" dt="2021-08-30T05:36:07.294" v="8878" actId="478"/>
          <ac:picMkLst>
            <pc:docMk/>
            <pc:sldMk cId="244967634" sldId="304"/>
            <ac:picMk id="57" creationId="{CB984A7D-25FB-41C3-9C7C-9457687CF0ED}"/>
          </ac:picMkLst>
        </pc:picChg>
        <pc:cxnChg chg="mod ord">
          <ac:chgData name="Chow, Daniel" userId="55b95bf8-e08b-452a-8e72-e591fec08000" providerId="ADAL" clId="{5B0BA760-2B43-4298-83C5-7893CC90DB8E}" dt="2021-08-30T06:07:50.682" v="9090"/>
          <ac:cxnSpMkLst>
            <pc:docMk/>
            <pc:sldMk cId="244967634" sldId="304"/>
            <ac:cxnSpMk id="35" creationId="{DDFFE4DB-309D-454C-813F-88E15EE581A9}"/>
          </ac:cxnSpMkLst>
        </pc:cxnChg>
        <pc:cxnChg chg="mod ord">
          <ac:chgData name="Chow, Daniel" userId="55b95bf8-e08b-452a-8e72-e591fec08000" providerId="ADAL" clId="{5B0BA760-2B43-4298-83C5-7893CC90DB8E}" dt="2021-08-30T06:07:50.680" v="9084"/>
          <ac:cxnSpMkLst>
            <pc:docMk/>
            <pc:sldMk cId="244967634" sldId="304"/>
            <ac:cxnSpMk id="39" creationId="{FD13841D-8F84-458A-959B-49D42128A56D}"/>
          </ac:cxnSpMkLst>
        </pc:cxnChg>
      </pc:sldChg>
      <pc:sldChg chg="addSp delSp modSp del mod">
        <pc:chgData name="Chow, Daniel" userId="55b95bf8-e08b-452a-8e72-e591fec08000" providerId="ADAL" clId="{5B0BA760-2B43-4298-83C5-7893CC90DB8E}" dt="2021-09-03T05:21:27.960" v="20562" actId="47"/>
        <pc:sldMkLst>
          <pc:docMk/>
          <pc:sldMk cId="654085162" sldId="305"/>
        </pc:sldMkLst>
        <pc:spChg chg="add del mod">
          <ac:chgData name="Chow, Daniel" userId="55b95bf8-e08b-452a-8e72-e591fec08000" providerId="ADAL" clId="{5B0BA760-2B43-4298-83C5-7893CC90DB8E}" dt="2021-08-27T05:57:18.152" v="432" actId="478"/>
          <ac:spMkLst>
            <pc:docMk/>
            <pc:sldMk cId="654085162" sldId="305"/>
            <ac:spMk id="8" creationId="{01F209F2-BABC-439C-A6B1-63D5D2402E66}"/>
          </ac:spMkLst>
        </pc:spChg>
        <pc:spChg chg="add mod ord">
          <ac:chgData name="Chow, Daniel" userId="55b95bf8-e08b-452a-8e72-e591fec08000" providerId="ADAL" clId="{5B0BA760-2B43-4298-83C5-7893CC90DB8E}" dt="2021-08-28T09:01:36.907" v="3597"/>
          <ac:spMkLst>
            <pc:docMk/>
            <pc:sldMk cId="654085162" sldId="305"/>
            <ac:spMk id="9" creationId="{FE3518DF-8D59-43B8-9CA9-8E002C27FE61}"/>
          </ac:spMkLst>
        </pc:spChg>
        <pc:spChg chg="add mod ord">
          <ac:chgData name="Chow, Daniel" userId="55b95bf8-e08b-452a-8e72-e591fec08000" providerId="ADAL" clId="{5B0BA760-2B43-4298-83C5-7893CC90DB8E}" dt="2021-08-28T09:01:36.908" v="3599"/>
          <ac:spMkLst>
            <pc:docMk/>
            <pc:sldMk cId="654085162" sldId="305"/>
            <ac:spMk id="10" creationId="{B730C9AC-6B90-4CDD-B9B1-0B08A0FDF183}"/>
          </ac:spMkLst>
        </pc:spChg>
        <pc:spChg chg="add mod ord">
          <ac:chgData name="Chow, Daniel" userId="55b95bf8-e08b-452a-8e72-e591fec08000" providerId="ADAL" clId="{5B0BA760-2B43-4298-83C5-7893CC90DB8E}" dt="2021-08-28T09:02:13.764" v="3632" actId="14100"/>
          <ac:spMkLst>
            <pc:docMk/>
            <pc:sldMk cId="654085162" sldId="305"/>
            <ac:spMk id="11" creationId="{EB60926D-C156-44EF-8532-842AB64CBE7C}"/>
          </ac:spMkLst>
        </pc:spChg>
        <pc:spChg chg="add mod ord">
          <ac:chgData name="Chow, Daniel" userId="55b95bf8-e08b-452a-8e72-e591fec08000" providerId="ADAL" clId="{5B0BA760-2B43-4298-83C5-7893CC90DB8E}" dt="2021-08-28T09:02:18.880" v="3634" actId="14100"/>
          <ac:spMkLst>
            <pc:docMk/>
            <pc:sldMk cId="654085162" sldId="305"/>
            <ac:spMk id="12" creationId="{52CA6230-D57E-4306-90FE-76B547323B9F}"/>
          </ac:spMkLst>
        </pc:spChg>
        <pc:spChg chg="add mod ord">
          <ac:chgData name="Chow, Daniel" userId="55b95bf8-e08b-452a-8e72-e591fec08000" providerId="ADAL" clId="{5B0BA760-2B43-4298-83C5-7893CC90DB8E}" dt="2021-08-29T10:06:43.292" v="4621" actId="20577"/>
          <ac:spMkLst>
            <pc:docMk/>
            <pc:sldMk cId="654085162" sldId="305"/>
            <ac:spMk id="13" creationId="{3A66A43A-EFE8-4F2E-A40B-7A3267976817}"/>
          </ac:spMkLst>
        </pc:spChg>
        <pc:spChg chg="add del mod ord">
          <ac:chgData name="Chow, Daniel" userId="55b95bf8-e08b-452a-8e72-e591fec08000" providerId="ADAL" clId="{5B0BA760-2B43-4298-83C5-7893CC90DB8E}" dt="2021-08-28T09:02:23.136" v="3637" actId="478"/>
          <ac:spMkLst>
            <pc:docMk/>
            <pc:sldMk cId="654085162" sldId="305"/>
            <ac:spMk id="14" creationId="{25E32563-071C-45AB-BA1F-453E598CD4FB}"/>
          </ac:spMkLst>
        </pc:spChg>
        <pc:spChg chg="add del mod ord">
          <ac:chgData name="Chow, Daniel" userId="55b95bf8-e08b-452a-8e72-e591fec08000" providerId="ADAL" clId="{5B0BA760-2B43-4298-83C5-7893CC90DB8E}" dt="2021-08-28T09:02:24.049" v="3638" actId="478"/>
          <ac:spMkLst>
            <pc:docMk/>
            <pc:sldMk cId="654085162" sldId="305"/>
            <ac:spMk id="15" creationId="{383A324E-082A-4620-97B6-783B8CC9AD0A}"/>
          </ac:spMkLst>
        </pc:spChg>
        <pc:spChg chg="add del mod ord">
          <ac:chgData name="Chow, Daniel" userId="55b95bf8-e08b-452a-8e72-e591fec08000" providerId="ADAL" clId="{5B0BA760-2B43-4298-83C5-7893CC90DB8E}" dt="2021-08-28T09:02:24.938" v="3639" actId="478"/>
          <ac:spMkLst>
            <pc:docMk/>
            <pc:sldMk cId="654085162" sldId="305"/>
            <ac:spMk id="16" creationId="{517FCEDF-90E7-4DC4-B1E4-C3AC7DE36428}"/>
          </ac:spMkLst>
        </pc:spChg>
        <pc:spChg chg="add mod ord">
          <ac:chgData name="Chow, Daniel" userId="55b95bf8-e08b-452a-8e72-e591fec08000" providerId="ADAL" clId="{5B0BA760-2B43-4298-83C5-7893CC90DB8E}" dt="2021-08-29T12:24:49.871" v="7421" actId="6549"/>
          <ac:spMkLst>
            <pc:docMk/>
            <pc:sldMk cId="654085162" sldId="305"/>
            <ac:spMk id="17" creationId="{975AA85A-1F54-41C4-A4BC-826A53B26442}"/>
          </ac:spMkLst>
        </pc:spChg>
        <pc:spChg chg="add mod ord">
          <ac:chgData name="Chow, Daniel" userId="55b95bf8-e08b-452a-8e72-e591fec08000" providerId="ADAL" clId="{5B0BA760-2B43-4298-83C5-7893CC90DB8E}" dt="2021-08-30T03:33:20.203" v="8752" actId="20577"/>
          <ac:spMkLst>
            <pc:docMk/>
            <pc:sldMk cId="654085162" sldId="305"/>
            <ac:spMk id="18" creationId="{A2439968-811A-4CBB-BAB3-AC0F7E4071B0}"/>
          </ac:spMkLst>
        </pc:spChg>
        <pc:spChg chg="add mod ord">
          <ac:chgData name="Chow, Daniel" userId="55b95bf8-e08b-452a-8e72-e591fec08000" providerId="ADAL" clId="{5B0BA760-2B43-4298-83C5-7893CC90DB8E}" dt="2021-08-31T05:18:40.776" v="20550" actId="20577"/>
          <ac:spMkLst>
            <pc:docMk/>
            <pc:sldMk cId="654085162" sldId="305"/>
            <ac:spMk id="19" creationId="{94C3E3EB-5BFE-4952-B0C2-E15C977D7148}"/>
          </ac:spMkLst>
        </pc:spChg>
        <pc:spChg chg="add mod ord">
          <ac:chgData name="Chow, Daniel" userId="55b95bf8-e08b-452a-8e72-e591fec08000" providerId="ADAL" clId="{5B0BA760-2B43-4298-83C5-7893CC90DB8E}" dt="2021-08-30T09:59:05.254" v="10522" actId="14100"/>
          <ac:spMkLst>
            <pc:docMk/>
            <pc:sldMk cId="654085162" sldId="305"/>
            <ac:spMk id="20" creationId="{8B9D2F96-2D89-454E-98D7-9A54C660C7AC}"/>
          </ac:spMkLst>
        </pc:spChg>
        <pc:spChg chg="add del mod">
          <ac:chgData name="Chow, Daniel" userId="55b95bf8-e08b-452a-8e72-e591fec08000" providerId="ADAL" clId="{5B0BA760-2B43-4298-83C5-7893CC90DB8E}" dt="2021-08-28T09:02:37.840" v="3646" actId="478"/>
          <ac:spMkLst>
            <pc:docMk/>
            <pc:sldMk cId="654085162" sldId="305"/>
            <ac:spMk id="21" creationId="{C1B44836-F47B-4586-9A89-B759D115FE5C}"/>
          </ac:spMkLst>
        </pc:spChg>
        <pc:spChg chg="add del mod">
          <ac:chgData name="Chow, Daniel" userId="55b95bf8-e08b-452a-8e72-e591fec08000" providerId="ADAL" clId="{5B0BA760-2B43-4298-83C5-7893CC90DB8E}" dt="2021-08-28T09:02:37.840" v="3646" actId="478"/>
          <ac:spMkLst>
            <pc:docMk/>
            <pc:sldMk cId="654085162" sldId="305"/>
            <ac:spMk id="22" creationId="{1E370066-7AA9-4D40-9C72-6D973EBAAE7B}"/>
          </ac:spMkLst>
        </pc:spChg>
        <pc:spChg chg="add del mod">
          <ac:chgData name="Chow, Daniel" userId="55b95bf8-e08b-452a-8e72-e591fec08000" providerId="ADAL" clId="{5B0BA760-2B43-4298-83C5-7893CC90DB8E}" dt="2021-08-28T09:02:37.840" v="3646" actId="478"/>
          <ac:spMkLst>
            <pc:docMk/>
            <pc:sldMk cId="654085162" sldId="305"/>
            <ac:spMk id="23" creationId="{6BD5757B-6EF7-4F1A-984E-F9E6A6B322E0}"/>
          </ac:spMkLst>
        </pc:spChg>
        <pc:spChg chg="add del mod">
          <ac:chgData name="Chow, Daniel" userId="55b95bf8-e08b-452a-8e72-e591fec08000" providerId="ADAL" clId="{5B0BA760-2B43-4298-83C5-7893CC90DB8E}" dt="2021-08-28T09:02:37.840" v="3646" actId="478"/>
          <ac:spMkLst>
            <pc:docMk/>
            <pc:sldMk cId="654085162" sldId="305"/>
            <ac:spMk id="24" creationId="{E3B83925-A342-417F-84B7-AD24BEED35DC}"/>
          </ac:spMkLst>
        </pc:spChg>
        <pc:spChg chg="add del mod">
          <ac:chgData name="Chow, Daniel" userId="55b95bf8-e08b-452a-8e72-e591fec08000" providerId="ADAL" clId="{5B0BA760-2B43-4298-83C5-7893CC90DB8E}" dt="2021-08-28T09:02:37.840" v="3646" actId="478"/>
          <ac:spMkLst>
            <pc:docMk/>
            <pc:sldMk cId="654085162" sldId="305"/>
            <ac:spMk id="25" creationId="{3F03A30C-40C5-42E9-A53B-9F4817706985}"/>
          </ac:spMkLst>
        </pc:spChg>
        <pc:spChg chg="add del mod">
          <ac:chgData name="Chow, Daniel" userId="55b95bf8-e08b-452a-8e72-e591fec08000" providerId="ADAL" clId="{5B0BA760-2B43-4298-83C5-7893CC90DB8E}" dt="2021-08-28T09:02:37.840" v="3646" actId="478"/>
          <ac:spMkLst>
            <pc:docMk/>
            <pc:sldMk cId="654085162" sldId="305"/>
            <ac:spMk id="26" creationId="{D2DA530F-BCAE-4619-8DD1-EA3FDA45C1D6}"/>
          </ac:spMkLst>
        </pc:spChg>
        <pc:spChg chg="add del mod">
          <ac:chgData name="Chow, Daniel" userId="55b95bf8-e08b-452a-8e72-e591fec08000" providerId="ADAL" clId="{5B0BA760-2B43-4298-83C5-7893CC90DB8E}" dt="2021-08-28T09:02:37.840" v="3646" actId="478"/>
          <ac:spMkLst>
            <pc:docMk/>
            <pc:sldMk cId="654085162" sldId="305"/>
            <ac:spMk id="27" creationId="{D149E404-70FA-4B0D-A2AB-C1E8D81DA5D8}"/>
          </ac:spMkLst>
        </pc:spChg>
        <pc:spChg chg="add del mod">
          <ac:chgData name="Chow, Daniel" userId="55b95bf8-e08b-452a-8e72-e591fec08000" providerId="ADAL" clId="{5B0BA760-2B43-4298-83C5-7893CC90DB8E}" dt="2021-08-28T09:02:37.840" v="3646" actId="478"/>
          <ac:spMkLst>
            <pc:docMk/>
            <pc:sldMk cId="654085162" sldId="305"/>
            <ac:spMk id="28" creationId="{547068A8-1228-4D78-94AE-DA64F5F108BB}"/>
          </ac:spMkLst>
        </pc:spChg>
        <pc:spChg chg="add del mod">
          <ac:chgData name="Chow, Daniel" userId="55b95bf8-e08b-452a-8e72-e591fec08000" providerId="ADAL" clId="{5B0BA760-2B43-4298-83C5-7893CC90DB8E}" dt="2021-08-28T09:02:37.840" v="3646" actId="478"/>
          <ac:spMkLst>
            <pc:docMk/>
            <pc:sldMk cId="654085162" sldId="305"/>
            <ac:spMk id="29" creationId="{B53416F4-214C-417C-94B4-1DD33D717BF8}"/>
          </ac:spMkLst>
        </pc:spChg>
        <pc:spChg chg="add del mod">
          <ac:chgData name="Chow, Daniel" userId="55b95bf8-e08b-452a-8e72-e591fec08000" providerId="ADAL" clId="{5B0BA760-2B43-4298-83C5-7893CC90DB8E}" dt="2021-08-28T09:02:37.840" v="3646" actId="478"/>
          <ac:spMkLst>
            <pc:docMk/>
            <pc:sldMk cId="654085162" sldId="305"/>
            <ac:spMk id="30" creationId="{E081D1B6-44CF-4493-AA74-AFF11237FF5D}"/>
          </ac:spMkLst>
        </pc:spChg>
        <pc:spChg chg="add mod">
          <ac:chgData name="Chow, Daniel" userId="55b95bf8-e08b-452a-8e72-e591fec08000" providerId="ADAL" clId="{5B0BA760-2B43-4298-83C5-7893CC90DB8E}" dt="2021-08-28T09:02:44.437" v="3649" actId="20577"/>
          <ac:spMkLst>
            <pc:docMk/>
            <pc:sldMk cId="654085162" sldId="305"/>
            <ac:spMk id="32" creationId="{9A76AC45-B049-4585-B85E-E0B2F492599D}"/>
          </ac:spMkLst>
        </pc:spChg>
        <pc:spChg chg="add mod">
          <ac:chgData name="Chow, Daniel" userId="55b95bf8-e08b-452a-8e72-e591fec08000" providerId="ADAL" clId="{5B0BA760-2B43-4298-83C5-7893CC90DB8E}" dt="2021-08-29T11:13:00.805" v="6550" actId="1076"/>
          <ac:spMkLst>
            <pc:docMk/>
            <pc:sldMk cId="654085162" sldId="305"/>
            <ac:spMk id="33" creationId="{3D4D6CB5-78B7-4399-83A0-59273F6DAC85}"/>
          </ac:spMkLst>
        </pc:spChg>
        <pc:spChg chg="add mod">
          <ac:chgData name="Chow, Daniel" userId="55b95bf8-e08b-452a-8e72-e591fec08000" providerId="ADAL" clId="{5B0BA760-2B43-4298-83C5-7893CC90DB8E}" dt="2021-08-29T11:12:59.072" v="6549" actId="1076"/>
          <ac:spMkLst>
            <pc:docMk/>
            <pc:sldMk cId="654085162" sldId="305"/>
            <ac:spMk id="34" creationId="{81637F34-341E-40FE-B363-26555A6E5F7D}"/>
          </ac:spMkLst>
        </pc:spChg>
        <pc:spChg chg="mod ord">
          <ac:chgData name="Chow, Daniel" userId="55b95bf8-e08b-452a-8e72-e591fec08000" providerId="ADAL" clId="{5B0BA760-2B43-4298-83C5-7893CC90DB8E}" dt="2021-08-29T10:06:44.093" v="4626" actId="1038"/>
          <ac:spMkLst>
            <pc:docMk/>
            <pc:sldMk cId="654085162" sldId="305"/>
            <ac:spMk id="36" creationId="{4539A0AD-E13A-4743-95CB-3F8CC7BE272C}"/>
          </ac:spMkLst>
        </pc:spChg>
        <pc:spChg chg="add mod">
          <ac:chgData name="Chow, Daniel" userId="55b95bf8-e08b-452a-8e72-e591fec08000" providerId="ADAL" clId="{5B0BA760-2B43-4298-83C5-7893CC90DB8E}" dt="2021-08-28T09:05:03.387" v="3691" actId="208"/>
          <ac:spMkLst>
            <pc:docMk/>
            <pc:sldMk cId="654085162" sldId="305"/>
            <ac:spMk id="37" creationId="{DC8989DC-42CA-4CCD-96F2-CF02E0E0BB3D}"/>
          </ac:spMkLst>
        </pc:spChg>
        <pc:spChg chg="add mod">
          <ac:chgData name="Chow, Daniel" userId="55b95bf8-e08b-452a-8e72-e591fec08000" providerId="ADAL" clId="{5B0BA760-2B43-4298-83C5-7893CC90DB8E}" dt="2021-08-28T09:05:17.767" v="3695" actId="14100"/>
          <ac:spMkLst>
            <pc:docMk/>
            <pc:sldMk cId="654085162" sldId="305"/>
            <ac:spMk id="38" creationId="{ACC0CA35-784F-49F8-A3F4-478E09BA3EE3}"/>
          </ac:spMkLst>
        </pc:spChg>
        <pc:spChg chg="mod ord">
          <ac:chgData name="Chow, Daniel" userId="55b95bf8-e08b-452a-8e72-e591fec08000" providerId="ADAL" clId="{5B0BA760-2B43-4298-83C5-7893CC90DB8E}" dt="2021-08-28T09:01:36.905" v="3589"/>
          <ac:spMkLst>
            <pc:docMk/>
            <pc:sldMk cId="654085162" sldId="305"/>
            <ac:spMk id="40" creationId="{447C7108-5217-4CC8-A557-C124949439AD}"/>
          </ac:spMkLst>
        </pc:spChg>
        <pc:spChg chg="add mod">
          <ac:chgData name="Chow, Daniel" userId="55b95bf8-e08b-452a-8e72-e591fec08000" providerId="ADAL" clId="{5B0BA760-2B43-4298-83C5-7893CC90DB8E}" dt="2021-08-28T09:05:31.434" v="3700" actId="6549"/>
          <ac:spMkLst>
            <pc:docMk/>
            <pc:sldMk cId="654085162" sldId="305"/>
            <ac:spMk id="41" creationId="{8532F45F-0696-4380-A234-84B390873888}"/>
          </ac:spMkLst>
        </pc:spChg>
        <pc:spChg chg="add mod">
          <ac:chgData name="Chow, Daniel" userId="55b95bf8-e08b-452a-8e72-e591fec08000" providerId="ADAL" clId="{5B0BA760-2B43-4298-83C5-7893CC90DB8E}" dt="2021-08-28T10:43:40.288" v="3810" actId="1076"/>
          <ac:spMkLst>
            <pc:docMk/>
            <pc:sldMk cId="654085162" sldId="305"/>
            <ac:spMk id="42" creationId="{0BEFC14C-1EEE-4DE0-93A8-2A9B43A30E25}"/>
          </ac:spMkLst>
        </pc:spChg>
        <pc:spChg chg="add del mod">
          <ac:chgData name="Chow, Daniel" userId="55b95bf8-e08b-452a-8e72-e591fec08000" providerId="ADAL" clId="{5B0BA760-2B43-4298-83C5-7893CC90DB8E}" dt="2021-08-29T10:06:43.940" v="4625"/>
          <ac:spMkLst>
            <pc:docMk/>
            <pc:sldMk cId="654085162" sldId="305"/>
            <ac:spMk id="43" creationId="{61090D06-1FDF-4B35-A0B7-4EECC0266BD9}"/>
          </ac:spMkLst>
        </pc:spChg>
        <pc:spChg chg="add del mod">
          <ac:chgData name="Chow, Daniel" userId="55b95bf8-e08b-452a-8e72-e591fec08000" providerId="ADAL" clId="{5B0BA760-2B43-4298-83C5-7893CC90DB8E}" dt="2021-08-28T09:04:41.511" v="3684" actId="478"/>
          <ac:spMkLst>
            <pc:docMk/>
            <pc:sldMk cId="654085162" sldId="305"/>
            <ac:spMk id="43" creationId="{6F0B96BB-06FA-449A-B4AE-D0A4C03E7DB1}"/>
          </ac:spMkLst>
        </pc:spChg>
        <pc:spChg chg="mod ord">
          <ac:chgData name="Chow, Daniel" userId="55b95bf8-e08b-452a-8e72-e591fec08000" providerId="ADAL" clId="{5B0BA760-2B43-4298-83C5-7893CC90DB8E}" dt="2021-08-28T09:01:36.906" v="3591"/>
          <ac:spMkLst>
            <pc:docMk/>
            <pc:sldMk cId="654085162" sldId="305"/>
            <ac:spMk id="44" creationId="{59301ECD-394D-4188-88D0-72B3AA7A7A3F}"/>
          </ac:spMkLst>
        </pc:spChg>
        <pc:spChg chg="add mod">
          <ac:chgData name="Chow, Daniel" userId="55b95bf8-e08b-452a-8e72-e591fec08000" providerId="ADAL" clId="{5B0BA760-2B43-4298-83C5-7893CC90DB8E}" dt="2021-08-28T09:05:26.369" v="3699" actId="207"/>
          <ac:spMkLst>
            <pc:docMk/>
            <pc:sldMk cId="654085162" sldId="305"/>
            <ac:spMk id="45" creationId="{1D057FA8-DD60-47C0-A76E-43DA384650DC}"/>
          </ac:spMkLst>
        </pc:spChg>
        <pc:spChg chg="mod">
          <ac:chgData name="Chow, Daniel" userId="55b95bf8-e08b-452a-8e72-e591fec08000" providerId="ADAL" clId="{5B0BA760-2B43-4298-83C5-7893CC90DB8E}" dt="2021-08-28T12:04:17.721" v="4295" actId="207"/>
          <ac:spMkLst>
            <pc:docMk/>
            <pc:sldMk cId="654085162" sldId="305"/>
            <ac:spMk id="47" creationId="{2680B7C1-F81A-4561-9809-713C35FEAA92}"/>
          </ac:spMkLst>
        </pc:spChg>
        <pc:spChg chg="mod">
          <ac:chgData name="Chow, Daniel" userId="55b95bf8-e08b-452a-8e72-e591fec08000" providerId="ADAL" clId="{5B0BA760-2B43-4298-83C5-7893CC90DB8E}" dt="2021-08-28T12:04:17.721" v="4295" actId="207"/>
          <ac:spMkLst>
            <pc:docMk/>
            <pc:sldMk cId="654085162" sldId="305"/>
            <ac:spMk id="48" creationId="{37A132B6-B7A8-4F49-B580-F064BF728AF7}"/>
          </ac:spMkLst>
        </pc:spChg>
        <pc:spChg chg="mod">
          <ac:chgData name="Chow, Daniel" userId="55b95bf8-e08b-452a-8e72-e591fec08000" providerId="ADAL" clId="{5B0BA760-2B43-4298-83C5-7893CC90DB8E}" dt="2021-08-28T12:04:17.721" v="4295" actId="207"/>
          <ac:spMkLst>
            <pc:docMk/>
            <pc:sldMk cId="654085162" sldId="305"/>
            <ac:spMk id="49" creationId="{7F2E1886-B8E3-4BA2-B587-41C3FFFBC16E}"/>
          </ac:spMkLst>
        </pc:spChg>
        <pc:spChg chg="mod">
          <ac:chgData name="Chow, Daniel" userId="55b95bf8-e08b-452a-8e72-e591fec08000" providerId="ADAL" clId="{5B0BA760-2B43-4298-83C5-7893CC90DB8E}" dt="2021-08-28T12:04:17.721" v="4295" actId="207"/>
          <ac:spMkLst>
            <pc:docMk/>
            <pc:sldMk cId="654085162" sldId="305"/>
            <ac:spMk id="50" creationId="{EA80CED7-CA18-4008-97F2-A1DACAC6591E}"/>
          </ac:spMkLst>
        </pc:spChg>
        <pc:spChg chg="mod">
          <ac:chgData name="Chow, Daniel" userId="55b95bf8-e08b-452a-8e72-e591fec08000" providerId="ADAL" clId="{5B0BA760-2B43-4298-83C5-7893CC90DB8E}" dt="2021-08-28T12:04:17.721" v="4295" actId="207"/>
          <ac:spMkLst>
            <pc:docMk/>
            <pc:sldMk cId="654085162" sldId="305"/>
            <ac:spMk id="51" creationId="{7086C7FA-FFC3-49D9-A188-1B37D7C49DB4}"/>
          </ac:spMkLst>
        </pc:spChg>
        <pc:grpChg chg="add mod">
          <ac:chgData name="Chow, Daniel" userId="55b95bf8-e08b-452a-8e72-e591fec08000" providerId="ADAL" clId="{5B0BA760-2B43-4298-83C5-7893CC90DB8E}" dt="2021-08-29T10:06:44.093" v="4626" actId="1038"/>
          <ac:grpSpMkLst>
            <pc:docMk/>
            <pc:sldMk cId="654085162" sldId="305"/>
            <ac:grpSpMk id="46" creationId="{88803AA9-3A18-4FB9-A75C-28CF5D608104}"/>
          </ac:grpSpMkLst>
        </pc:grpChg>
        <pc:graphicFrameChg chg="mod">
          <ac:chgData name="Chow, Daniel" userId="55b95bf8-e08b-452a-8e72-e591fec08000" providerId="ADAL" clId="{5B0BA760-2B43-4298-83C5-7893CC90DB8E}" dt="2021-08-28T09:01:36.921" v="3620"/>
          <ac:graphicFrameMkLst>
            <pc:docMk/>
            <pc:sldMk cId="654085162" sldId="305"/>
            <ac:graphicFrameMk id="31" creationId="{EBC077DF-B1E4-484C-98A3-8570C24A382B}"/>
          </ac:graphicFrameMkLst>
        </pc:graphicFrameChg>
        <pc:cxnChg chg="mod ord">
          <ac:chgData name="Chow, Daniel" userId="55b95bf8-e08b-452a-8e72-e591fec08000" providerId="ADAL" clId="{5B0BA760-2B43-4298-83C5-7893CC90DB8E}" dt="2021-08-29T10:06:44.093" v="4626" actId="1038"/>
          <ac:cxnSpMkLst>
            <pc:docMk/>
            <pc:sldMk cId="654085162" sldId="305"/>
            <ac:cxnSpMk id="35" creationId="{DDFFE4DB-309D-454C-813F-88E15EE581A9}"/>
          </ac:cxnSpMkLst>
        </pc:cxnChg>
        <pc:cxnChg chg="mod ord">
          <ac:chgData name="Chow, Daniel" userId="55b95bf8-e08b-452a-8e72-e591fec08000" providerId="ADAL" clId="{5B0BA760-2B43-4298-83C5-7893CC90DB8E}" dt="2021-08-28T09:01:36.904" v="3587"/>
          <ac:cxnSpMkLst>
            <pc:docMk/>
            <pc:sldMk cId="654085162" sldId="305"/>
            <ac:cxnSpMk id="39" creationId="{FD13841D-8F84-458A-959B-49D42128A56D}"/>
          </ac:cxnSpMkLst>
        </pc:cxnChg>
      </pc:sldChg>
      <pc:sldChg chg="addSp delSp modSp add del mod">
        <pc:chgData name="Chow, Daniel" userId="55b95bf8-e08b-452a-8e72-e591fec08000" providerId="ADAL" clId="{5B0BA760-2B43-4298-83C5-7893CC90DB8E}" dt="2021-08-28T07:55:37.643" v="2603" actId="47"/>
        <pc:sldMkLst>
          <pc:docMk/>
          <pc:sldMk cId="3385887154" sldId="25936"/>
        </pc:sldMkLst>
        <pc:spChg chg="del">
          <ac:chgData name="Chow, Daniel" userId="55b95bf8-e08b-452a-8e72-e591fec08000" providerId="ADAL" clId="{5B0BA760-2B43-4298-83C5-7893CC90DB8E}" dt="2021-08-28T07:18:31.243" v="2477" actId="478"/>
          <ac:spMkLst>
            <pc:docMk/>
            <pc:sldMk cId="3385887154" sldId="25936"/>
            <ac:spMk id="2" creationId="{178942B6-25C6-4B4A-A3B8-4239F400ECAB}"/>
          </ac:spMkLst>
        </pc:spChg>
        <pc:spChg chg="del">
          <ac:chgData name="Chow, Daniel" userId="55b95bf8-e08b-452a-8e72-e591fec08000" providerId="ADAL" clId="{5B0BA760-2B43-4298-83C5-7893CC90DB8E}" dt="2021-08-27T05:53:17.585" v="331" actId="21"/>
          <ac:spMkLst>
            <pc:docMk/>
            <pc:sldMk cId="3385887154" sldId="25936"/>
            <ac:spMk id="8" creationId="{19B47B75-D7DB-4814-8FE0-ED52A891B2EA}"/>
          </ac:spMkLst>
        </pc:spChg>
        <pc:spChg chg="add mod">
          <ac:chgData name="Chow, Daniel" userId="55b95bf8-e08b-452a-8e72-e591fec08000" providerId="ADAL" clId="{5B0BA760-2B43-4298-83C5-7893CC90DB8E}" dt="2021-08-27T06:32:55.697" v="452" actId="20577"/>
          <ac:spMkLst>
            <pc:docMk/>
            <pc:sldMk cId="3385887154" sldId="25936"/>
            <ac:spMk id="9" creationId="{586A76CF-6127-46D2-BE14-097902325886}"/>
          </ac:spMkLst>
        </pc:spChg>
        <pc:picChg chg="del">
          <ac:chgData name="Chow, Daniel" userId="55b95bf8-e08b-452a-8e72-e591fec08000" providerId="ADAL" clId="{5B0BA760-2B43-4298-83C5-7893CC90DB8E}" dt="2021-08-27T05:53:14.827" v="330" actId="478"/>
          <ac:picMkLst>
            <pc:docMk/>
            <pc:sldMk cId="3385887154" sldId="25936"/>
            <ac:picMk id="3" creationId="{7A7B41E9-F426-494D-9E88-303B7C0C70CF}"/>
          </ac:picMkLst>
        </pc:picChg>
        <pc:cxnChg chg="add mod">
          <ac:chgData name="Chow, Daniel" userId="55b95bf8-e08b-452a-8e72-e591fec08000" providerId="ADAL" clId="{5B0BA760-2B43-4298-83C5-7893CC90DB8E}" dt="2021-08-27T06:32:52.823" v="444"/>
          <ac:cxnSpMkLst>
            <pc:docMk/>
            <pc:sldMk cId="3385887154" sldId="25936"/>
            <ac:cxnSpMk id="7" creationId="{052D1B98-24E9-4957-B6BF-5E79359093C8}"/>
          </ac:cxnSpMkLst>
        </pc:cxnChg>
      </pc:sldChg>
      <pc:sldChg chg="addSp delSp modSp add mod ord modNotesTx">
        <pc:chgData name="Chow, Daniel" userId="55b95bf8-e08b-452a-8e72-e591fec08000" providerId="ADAL" clId="{5B0BA760-2B43-4298-83C5-7893CC90DB8E}" dt="2021-08-31T03:53:00.286" v="11713" actId="20577"/>
        <pc:sldMkLst>
          <pc:docMk/>
          <pc:sldMk cId="3787951229" sldId="25937"/>
        </pc:sldMkLst>
        <pc:spChg chg="del">
          <ac:chgData name="Chow, Daniel" userId="55b95bf8-e08b-452a-8e72-e591fec08000" providerId="ADAL" clId="{5B0BA760-2B43-4298-83C5-7893CC90DB8E}" dt="2021-08-28T07:18:26.493" v="2476" actId="478"/>
          <ac:spMkLst>
            <pc:docMk/>
            <pc:sldMk cId="3787951229" sldId="25937"/>
            <ac:spMk id="2" creationId="{178942B6-25C6-4B4A-A3B8-4239F400ECAB}"/>
          </ac:spMkLst>
        </pc:spChg>
        <pc:spChg chg="mod">
          <ac:chgData name="Chow, Daniel" userId="55b95bf8-e08b-452a-8e72-e591fec08000" providerId="ADAL" clId="{5B0BA760-2B43-4298-83C5-7893CC90DB8E}" dt="2021-08-29T10:47:54.819" v="5469" actId="14100"/>
          <ac:spMkLst>
            <pc:docMk/>
            <pc:sldMk cId="3787951229" sldId="25937"/>
            <ac:spMk id="9" creationId="{586A76CF-6127-46D2-BE14-097902325886}"/>
          </ac:spMkLst>
        </pc:spChg>
        <pc:spChg chg="add mod">
          <ac:chgData name="Chow, Daniel" userId="55b95bf8-e08b-452a-8e72-e591fec08000" providerId="ADAL" clId="{5B0BA760-2B43-4298-83C5-7893CC90DB8E}" dt="2021-08-28T08:58:57.305" v="3560" actId="1076"/>
          <ac:spMkLst>
            <pc:docMk/>
            <pc:sldMk cId="3787951229" sldId="25937"/>
            <ac:spMk id="15" creationId="{7374C8B3-0072-4506-AC8C-0EBB5E00FE7A}"/>
          </ac:spMkLst>
        </pc:spChg>
        <pc:spChg chg="add del mod">
          <ac:chgData name="Chow, Daniel" userId="55b95bf8-e08b-452a-8e72-e591fec08000" providerId="ADAL" clId="{5B0BA760-2B43-4298-83C5-7893CC90DB8E}" dt="2021-08-28T08:06:09.417" v="2683"/>
          <ac:spMkLst>
            <pc:docMk/>
            <pc:sldMk cId="3787951229" sldId="25937"/>
            <ac:spMk id="16" creationId="{3921B96D-EB06-4049-99B8-64D0451CB3C4}"/>
          </ac:spMkLst>
        </pc:spChg>
        <pc:spChg chg="add mod">
          <ac:chgData name="Chow, Daniel" userId="55b95bf8-e08b-452a-8e72-e591fec08000" providerId="ADAL" clId="{5B0BA760-2B43-4298-83C5-7893CC90DB8E}" dt="2021-08-28T08:08:19.769" v="2694" actId="1076"/>
          <ac:spMkLst>
            <pc:docMk/>
            <pc:sldMk cId="3787951229" sldId="25937"/>
            <ac:spMk id="17" creationId="{E9461826-2E89-4D7A-A9B8-6E5077F14137}"/>
          </ac:spMkLst>
        </pc:spChg>
        <pc:spChg chg="add mod">
          <ac:chgData name="Chow, Daniel" userId="55b95bf8-e08b-452a-8e72-e591fec08000" providerId="ADAL" clId="{5B0BA760-2B43-4298-83C5-7893CC90DB8E}" dt="2021-08-29T09:39:06.279" v="4386" actId="1076"/>
          <ac:spMkLst>
            <pc:docMk/>
            <pc:sldMk cId="3787951229" sldId="25937"/>
            <ac:spMk id="18" creationId="{98F1C17B-0422-43EF-AD30-F7F2C46F4ECE}"/>
          </ac:spMkLst>
        </pc:spChg>
        <pc:spChg chg="add mod">
          <ac:chgData name="Chow, Daniel" userId="55b95bf8-e08b-452a-8e72-e591fec08000" providerId="ADAL" clId="{5B0BA760-2B43-4298-83C5-7893CC90DB8E}" dt="2021-08-28T08:48:15.590" v="3071" actId="14100"/>
          <ac:spMkLst>
            <pc:docMk/>
            <pc:sldMk cId="3787951229" sldId="25937"/>
            <ac:spMk id="19" creationId="{B0663E57-17B0-43A8-83CE-3996223A63C0}"/>
          </ac:spMkLst>
        </pc:spChg>
        <pc:spChg chg="add mod">
          <ac:chgData name="Chow, Daniel" userId="55b95bf8-e08b-452a-8e72-e591fec08000" providerId="ADAL" clId="{5B0BA760-2B43-4298-83C5-7893CC90DB8E}" dt="2021-08-28T11:29:14.162" v="3941" actId="1076"/>
          <ac:spMkLst>
            <pc:docMk/>
            <pc:sldMk cId="3787951229" sldId="25937"/>
            <ac:spMk id="20" creationId="{3DD5EB27-B7DE-466C-96C4-EE5C047F5AE8}"/>
          </ac:spMkLst>
        </pc:spChg>
        <pc:spChg chg="add mod">
          <ac:chgData name="Chow, Daniel" userId="55b95bf8-e08b-452a-8e72-e591fec08000" providerId="ADAL" clId="{5B0BA760-2B43-4298-83C5-7893CC90DB8E}" dt="2021-08-28T08:55:10.287" v="3301" actId="1076"/>
          <ac:spMkLst>
            <pc:docMk/>
            <pc:sldMk cId="3787951229" sldId="25937"/>
            <ac:spMk id="21" creationId="{F5637FBA-5FC9-44B2-BA75-3E39894E00AE}"/>
          </ac:spMkLst>
        </pc:spChg>
        <pc:spChg chg="add mod">
          <ac:chgData name="Chow, Daniel" userId="55b95bf8-e08b-452a-8e72-e591fec08000" providerId="ADAL" clId="{5B0BA760-2B43-4298-83C5-7893CC90DB8E}" dt="2021-08-28T08:53:37.240" v="3221" actId="1076"/>
          <ac:spMkLst>
            <pc:docMk/>
            <pc:sldMk cId="3787951229" sldId="25937"/>
            <ac:spMk id="22" creationId="{5A0F0EB9-AF94-4013-80EA-94FD7A6E015E}"/>
          </ac:spMkLst>
        </pc:spChg>
        <pc:spChg chg="add mod">
          <ac:chgData name="Chow, Daniel" userId="55b95bf8-e08b-452a-8e72-e591fec08000" providerId="ADAL" clId="{5B0BA760-2B43-4298-83C5-7893CC90DB8E}" dt="2021-08-28T11:29:10.206" v="3940" actId="1076"/>
          <ac:spMkLst>
            <pc:docMk/>
            <pc:sldMk cId="3787951229" sldId="25937"/>
            <ac:spMk id="23" creationId="{5A7BC22B-FAD2-4BD4-8B4C-08FAB910B2FE}"/>
          </ac:spMkLst>
        </pc:spChg>
        <pc:spChg chg="mod">
          <ac:chgData name="Chow, Daniel" userId="55b95bf8-e08b-452a-8e72-e591fec08000" providerId="ADAL" clId="{5B0BA760-2B43-4298-83C5-7893CC90DB8E}" dt="2021-08-28T10:38:32.182" v="3747"/>
          <ac:spMkLst>
            <pc:docMk/>
            <pc:sldMk cId="3787951229" sldId="25937"/>
            <ac:spMk id="25" creationId="{96E6D858-CFD4-4F8C-936F-8212F3DDB7F9}"/>
          </ac:spMkLst>
        </pc:spChg>
        <pc:spChg chg="mod">
          <ac:chgData name="Chow, Daniel" userId="55b95bf8-e08b-452a-8e72-e591fec08000" providerId="ADAL" clId="{5B0BA760-2B43-4298-83C5-7893CC90DB8E}" dt="2021-08-28T10:38:32.182" v="3747"/>
          <ac:spMkLst>
            <pc:docMk/>
            <pc:sldMk cId="3787951229" sldId="25937"/>
            <ac:spMk id="26" creationId="{FA21917E-B9EA-4694-8F11-0D24D7F3990E}"/>
          </ac:spMkLst>
        </pc:spChg>
        <pc:spChg chg="add del mod">
          <ac:chgData name="Chow, Daniel" userId="55b95bf8-e08b-452a-8e72-e591fec08000" providerId="ADAL" clId="{5B0BA760-2B43-4298-83C5-7893CC90DB8E}" dt="2021-08-28T10:38:44.781" v="3749" actId="478"/>
          <ac:spMkLst>
            <pc:docMk/>
            <pc:sldMk cId="3787951229" sldId="25937"/>
            <ac:spMk id="27" creationId="{B4D02357-030C-4755-8723-DF630EE62C54}"/>
          </ac:spMkLst>
        </pc:spChg>
        <pc:grpChg chg="add del mod">
          <ac:chgData name="Chow, Daniel" userId="55b95bf8-e08b-452a-8e72-e591fec08000" providerId="ADAL" clId="{5B0BA760-2B43-4298-83C5-7893CC90DB8E}" dt="2021-08-28T10:38:45.712" v="3750" actId="478"/>
          <ac:grpSpMkLst>
            <pc:docMk/>
            <pc:sldMk cId="3787951229" sldId="25937"/>
            <ac:grpSpMk id="24" creationId="{2F89C446-A7E2-4061-BAEB-68EE7DD6E59F}"/>
          </ac:grpSpMkLst>
        </pc:grpChg>
        <pc:graphicFrameChg chg="add mod">
          <ac:chgData name="Chow, Daniel" userId="55b95bf8-e08b-452a-8e72-e591fec08000" providerId="ADAL" clId="{5B0BA760-2B43-4298-83C5-7893CC90DB8E}" dt="2021-08-28T11:35:20.460" v="4140" actId="20577"/>
          <ac:graphicFrameMkLst>
            <pc:docMk/>
            <pc:sldMk cId="3787951229" sldId="25937"/>
            <ac:graphicFrameMk id="8" creationId="{C694EBEF-A6CB-4A1B-99C6-9584DD6BEF27}"/>
          </ac:graphicFrameMkLst>
        </pc:graphicFrameChg>
        <pc:graphicFrameChg chg="add mod">
          <ac:chgData name="Chow, Daniel" userId="55b95bf8-e08b-452a-8e72-e591fec08000" providerId="ADAL" clId="{5B0BA760-2B43-4298-83C5-7893CC90DB8E}" dt="2021-08-28T11:44:22.508" v="4276" actId="6549"/>
          <ac:graphicFrameMkLst>
            <pc:docMk/>
            <pc:sldMk cId="3787951229" sldId="25937"/>
            <ac:graphicFrameMk id="11" creationId="{13359631-18B4-4143-B7BA-38175B757251}"/>
          </ac:graphicFrameMkLst>
        </pc:graphicFrameChg>
        <pc:graphicFrameChg chg="add del mod">
          <ac:chgData name="Chow, Daniel" userId="55b95bf8-e08b-452a-8e72-e591fec08000" providerId="ADAL" clId="{5B0BA760-2B43-4298-83C5-7893CC90DB8E}" dt="2021-08-28T07:48:06.983" v="2551" actId="478"/>
          <ac:graphicFrameMkLst>
            <pc:docMk/>
            <pc:sldMk cId="3787951229" sldId="25937"/>
            <ac:graphicFrameMk id="12" creationId="{13359631-18B4-4143-B7BA-38175B757251}"/>
          </ac:graphicFrameMkLst>
        </pc:graphicFrameChg>
        <pc:graphicFrameChg chg="add mod">
          <ac:chgData name="Chow, Daniel" userId="55b95bf8-e08b-452a-8e72-e591fec08000" providerId="ADAL" clId="{5B0BA760-2B43-4298-83C5-7893CC90DB8E}" dt="2021-08-28T11:43:27.857" v="4238" actId="207"/>
          <ac:graphicFrameMkLst>
            <pc:docMk/>
            <pc:sldMk cId="3787951229" sldId="25937"/>
            <ac:graphicFrameMk id="13" creationId="{D1D63182-00D7-46B3-A4A6-1DCB80D54C9E}"/>
          </ac:graphicFrameMkLst>
        </pc:graphicFrameChg>
        <pc:graphicFrameChg chg="add mod">
          <ac:chgData name="Chow, Daniel" userId="55b95bf8-e08b-452a-8e72-e591fec08000" providerId="ADAL" clId="{5B0BA760-2B43-4298-83C5-7893CC90DB8E}" dt="2021-08-29T09:42:13.210" v="4387" actId="207"/>
          <ac:graphicFrameMkLst>
            <pc:docMk/>
            <pc:sldMk cId="3787951229" sldId="25937"/>
            <ac:graphicFrameMk id="14" creationId="{BB6E4344-0AE5-4D35-8E6E-994D38907198}"/>
          </ac:graphicFrameMkLst>
        </pc:graphicFrameChg>
        <pc:cxnChg chg="add">
          <ac:chgData name="Chow, Daniel" userId="55b95bf8-e08b-452a-8e72-e591fec08000" providerId="ADAL" clId="{5B0BA760-2B43-4298-83C5-7893CC90DB8E}" dt="2021-08-28T11:26:57.799" v="3918" actId="11529"/>
          <ac:cxnSpMkLst>
            <pc:docMk/>
            <pc:sldMk cId="3787951229" sldId="25937"/>
            <ac:cxnSpMk id="3" creationId="{11F85F93-2A53-41C2-9019-25071B8F58A0}"/>
          </ac:cxnSpMkLst>
        </pc:cxnChg>
        <pc:cxnChg chg="add mod">
          <ac:chgData name="Chow, Daniel" userId="55b95bf8-e08b-452a-8e72-e591fec08000" providerId="ADAL" clId="{5B0BA760-2B43-4298-83C5-7893CC90DB8E}" dt="2021-08-28T11:30:03.560" v="3947" actId="14100"/>
          <ac:cxnSpMkLst>
            <pc:docMk/>
            <pc:sldMk cId="3787951229" sldId="25937"/>
            <ac:cxnSpMk id="24" creationId="{56468994-AE4B-46F4-B908-14A680228FE6}"/>
          </ac:cxnSpMkLst>
        </pc:cxnChg>
        <pc:cxnChg chg="add mod">
          <ac:chgData name="Chow, Daniel" userId="55b95bf8-e08b-452a-8e72-e591fec08000" providerId="ADAL" clId="{5B0BA760-2B43-4298-83C5-7893CC90DB8E}" dt="2021-08-28T11:43:02.444" v="4235" actId="14100"/>
          <ac:cxnSpMkLst>
            <pc:docMk/>
            <pc:sldMk cId="3787951229" sldId="25937"/>
            <ac:cxnSpMk id="25" creationId="{270199E4-4ADE-41C7-BE51-52C87A43F68F}"/>
          </ac:cxnSpMkLst>
        </pc:cxnChg>
        <pc:cxnChg chg="add del mod">
          <ac:chgData name="Chow, Daniel" userId="55b95bf8-e08b-452a-8e72-e591fec08000" providerId="ADAL" clId="{5B0BA760-2B43-4298-83C5-7893CC90DB8E}" dt="2021-08-28T11:28:40.382" v="3939" actId="14100"/>
          <ac:cxnSpMkLst>
            <pc:docMk/>
            <pc:sldMk cId="3787951229" sldId="25937"/>
            <ac:cxnSpMk id="27" creationId="{612B85B1-7E24-47E2-A8C0-FBADB20031BB}"/>
          </ac:cxnSpMkLst>
        </pc:cxnChg>
      </pc:sldChg>
      <pc:sldChg chg="addSp delSp modSp new add del modAnim">
        <pc:chgData name="Chow, Daniel" userId="55b95bf8-e08b-452a-8e72-e591fec08000" providerId="ADAL" clId="{5B0BA760-2B43-4298-83C5-7893CC90DB8E}" dt="2021-08-28T10:04:38.342" v="3746" actId="2696"/>
        <pc:sldMkLst>
          <pc:docMk/>
          <pc:sldMk cId="1030023821" sldId="25938"/>
        </pc:sldMkLst>
        <pc:spChg chg="add del">
          <ac:chgData name="Chow, Daniel" userId="55b95bf8-e08b-452a-8e72-e591fec08000" providerId="ADAL" clId="{5B0BA760-2B43-4298-83C5-7893CC90DB8E}" dt="2021-08-28T10:03:49.682" v="3745"/>
          <ac:spMkLst>
            <pc:docMk/>
            <pc:sldMk cId="1030023821" sldId="25938"/>
            <ac:spMk id="3" creationId="{AAF7D7BB-E59F-4C33-B8B6-0235C0DC2D7D}"/>
          </ac:spMkLst>
        </pc:spChg>
        <pc:picChg chg="add mod">
          <ac:chgData name="Chow, Daniel" userId="55b95bf8-e08b-452a-8e72-e591fec08000" providerId="ADAL" clId="{5B0BA760-2B43-4298-83C5-7893CC90DB8E}" dt="2021-08-28T10:03:44.215" v="3744"/>
          <ac:picMkLst>
            <pc:docMk/>
            <pc:sldMk cId="1030023821" sldId="25938"/>
            <ac:picMk id="6" creationId="{3E094A8F-2D04-4894-A700-5D22DE176D19}"/>
          </ac:picMkLst>
        </pc:picChg>
        <pc:picChg chg="add mod">
          <ac:chgData name="Chow, Daniel" userId="55b95bf8-e08b-452a-8e72-e591fec08000" providerId="ADAL" clId="{5B0BA760-2B43-4298-83C5-7893CC90DB8E}" dt="2021-08-28T10:03:49.682" v="3745"/>
          <ac:picMkLst>
            <pc:docMk/>
            <pc:sldMk cId="1030023821" sldId="25938"/>
            <ac:picMk id="7" creationId="{92254D06-E5B2-407D-BEC6-1489B99DA4BB}"/>
          </ac:picMkLst>
        </pc:picChg>
      </pc:sldChg>
      <pc:sldChg chg="addSp delSp modSp add del mod modNotesTx">
        <pc:chgData name="Chow, Daniel" userId="55b95bf8-e08b-452a-8e72-e591fec08000" providerId="ADAL" clId="{5B0BA760-2B43-4298-83C5-7893CC90DB8E}" dt="2021-09-03T05:21:27.960" v="20562" actId="47"/>
        <pc:sldMkLst>
          <pc:docMk/>
          <pc:sldMk cId="2756529135" sldId="25938"/>
        </pc:sldMkLst>
        <pc:spChg chg="del mod">
          <ac:chgData name="Chow, Daniel" userId="55b95bf8-e08b-452a-8e72-e591fec08000" providerId="ADAL" clId="{5B0BA760-2B43-4298-83C5-7893CC90DB8E}" dt="2021-08-30T03:53:46.321" v="8759" actId="478"/>
          <ac:spMkLst>
            <pc:docMk/>
            <pc:sldMk cId="2756529135" sldId="25938"/>
            <ac:spMk id="9" creationId="{2A3AF55E-4407-4344-A0D8-BC5070B44B43}"/>
          </ac:spMkLst>
        </pc:spChg>
        <pc:spChg chg="add mod">
          <ac:chgData name="Chow, Daniel" userId="55b95bf8-e08b-452a-8e72-e591fec08000" providerId="ADAL" clId="{5B0BA760-2B43-4298-83C5-7893CC90DB8E}" dt="2021-08-30T05:03:31.569" v="8872" actId="1076"/>
          <ac:spMkLst>
            <pc:docMk/>
            <pc:sldMk cId="2756529135" sldId="25938"/>
            <ac:spMk id="10" creationId="{A7B3597C-3705-4A6B-9A6B-691FD7FBB8A0}"/>
          </ac:spMkLst>
        </pc:spChg>
        <pc:picChg chg="del">
          <ac:chgData name="Chow, Daniel" userId="55b95bf8-e08b-452a-8e72-e591fec08000" providerId="ADAL" clId="{5B0BA760-2B43-4298-83C5-7893CC90DB8E}" dt="2021-08-30T03:53:45.119" v="8758" actId="478"/>
          <ac:picMkLst>
            <pc:docMk/>
            <pc:sldMk cId="2756529135" sldId="25938"/>
            <ac:picMk id="4" creationId="{ACC7AEBD-1847-43D3-885F-FFBECEE94887}"/>
          </ac:picMkLst>
        </pc:picChg>
        <pc:picChg chg="add mod">
          <ac:chgData name="Chow, Daniel" userId="55b95bf8-e08b-452a-8e72-e591fec08000" providerId="ADAL" clId="{5B0BA760-2B43-4298-83C5-7893CC90DB8E}" dt="2021-08-30T05:03:11.370" v="8859" actId="14100"/>
          <ac:picMkLst>
            <pc:docMk/>
            <pc:sldMk cId="2756529135" sldId="25938"/>
            <ac:picMk id="5" creationId="{A4B8B7F6-D50A-4B5E-A4FB-FCD6E5CE0FFF}"/>
          </ac:picMkLst>
        </pc:picChg>
      </pc:sldChg>
      <pc:sldChg chg="addSp delSp modSp add del mod">
        <pc:chgData name="Chow, Daniel" userId="55b95bf8-e08b-452a-8e72-e591fec08000" providerId="ADAL" clId="{5B0BA760-2B43-4298-83C5-7893CC90DB8E}" dt="2021-09-03T05:21:27.960" v="20562" actId="47"/>
        <pc:sldMkLst>
          <pc:docMk/>
          <pc:sldMk cId="2941430786" sldId="25939"/>
        </pc:sldMkLst>
        <pc:graphicFrameChg chg="add del mod">
          <ac:chgData name="Chow, Daniel" userId="55b95bf8-e08b-452a-8e72-e591fec08000" providerId="ADAL" clId="{5B0BA760-2B43-4298-83C5-7893CC90DB8E}" dt="2021-08-30T06:05:12.269" v="8933"/>
          <ac:graphicFrameMkLst>
            <pc:docMk/>
            <pc:sldMk cId="2941430786" sldId="25939"/>
            <ac:graphicFrameMk id="3" creationId="{968FE9C3-43FD-470F-98BD-1D9428C95332}"/>
          </ac:graphicFrameMkLst>
        </pc:graphicFrameChg>
        <pc:picChg chg="add mod">
          <ac:chgData name="Chow, Daniel" userId="55b95bf8-e08b-452a-8e72-e591fec08000" providerId="ADAL" clId="{5B0BA760-2B43-4298-83C5-7893CC90DB8E}" dt="2021-08-30T06:05:20.097" v="8938" actId="1076"/>
          <ac:picMkLst>
            <pc:docMk/>
            <pc:sldMk cId="2941430786" sldId="25939"/>
            <ac:picMk id="4" creationId="{B4C3599C-0364-4EB0-BA4D-440B30257FD7}"/>
          </ac:picMkLst>
        </pc:picChg>
        <pc:picChg chg="del">
          <ac:chgData name="Chow, Daniel" userId="55b95bf8-e08b-452a-8e72-e591fec08000" providerId="ADAL" clId="{5B0BA760-2B43-4298-83C5-7893CC90DB8E}" dt="2021-08-30T05:43:56.264" v="8880" actId="478"/>
          <ac:picMkLst>
            <pc:docMk/>
            <pc:sldMk cId="2941430786" sldId="25939"/>
            <ac:picMk id="5" creationId="{A4B8B7F6-D50A-4B5E-A4FB-FCD6E5CE0FFF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045030\AppData\Roaming\Microsoft\Excel\c01-2-hist%20(2)%20(version%201).xlsb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045030\AppData\Roaming\Microsoft\Excel\c01-2-hist%20(2)%20(version%201).xlsb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045030\AppData\Roaming\Microsoft\Excel\c01-2-hist%20(2)%20(version%201).xlsb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045030\AppData\Roaming\Microsoft\Excel\c01-2-hist%20(2)%20(version%201).xlsb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sz="1200" b="1" dirty="0"/>
              <a:t>No</a:t>
            </a:r>
            <a:r>
              <a:rPr lang="en-AU" sz="1200" b="1" baseline="0" dirty="0"/>
              <a:t> of cards/accounts </a:t>
            </a:r>
            <a:r>
              <a:rPr lang="en-AU" sz="1200" b="0" baseline="0" dirty="0"/>
              <a:t>are trending down over time.</a:t>
            </a:r>
          </a:p>
          <a:p>
            <a:pPr algn="l">
              <a:defRPr sz="1200"/>
            </a:pPr>
            <a:r>
              <a:rPr lang="en-AU" sz="1200" b="0" baseline="0" dirty="0"/>
              <a:t>The decline accelerated </a:t>
            </a:r>
            <a:r>
              <a:rPr lang="en-AU" sz="1200" b="0" baseline="0" dirty="0">
                <a:solidFill>
                  <a:schemeClr val="accent2">
                    <a:lumMod val="75000"/>
                  </a:schemeClr>
                </a:solidFill>
              </a:rPr>
              <a:t>post COVID19 lockdown Mar last year</a:t>
            </a:r>
          </a:p>
        </c:rich>
      </c:tx>
      <c:layout>
        <c:manualLayout>
          <c:xMode val="edge"/>
          <c:yMode val="edge"/>
          <c:x val="0.21219322384157105"/>
          <c:y val="3.113483133081616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355314960629921"/>
          <c:y val="0.21736104811959978"/>
          <c:w val="0.75487112071805451"/>
          <c:h val="0.46163498840586514"/>
        </c:manualLayout>
      </c:layou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Number of cards on issue: personal cards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4</c:f>
              <c:numCache>
                <c:formatCode>mmm\-yyyy</c:formatCode>
                <c:ptCount val="23"/>
                <c:pt idx="0">
                  <c:v>43708</c:v>
                </c:pt>
                <c:pt idx="1">
                  <c:v>43738</c:v>
                </c:pt>
                <c:pt idx="2">
                  <c:v>43769</c:v>
                </c:pt>
                <c:pt idx="3">
                  <c:v>43799</c:v>
                </c:pt>
                <c:pt idx="4">
                  <c:v>43830</c:v>
                </c:pt>
                <c:pt idx="5">
                  <c:v>43861</c:v>
                </c:pt>
                <c:pt idx="6">
                  <c:v>43890</c:v>
                </c:pt>
                <c:pt idx="7">
                  <c:v>43921</c:v>
                </c:pt>
                <c:pt idx="8">
                  <c:v>43951</c:v>
                </c:pt>
                <c:pt idx="9">
                  <c:v>43982</c:v>
                </c:pt>
                <c:pt idx="10">
                  <c:v>44012</c:v>
                </c:pt>
                <c:pt idx="11">
                  <c:v>44043</c:v>
                </c:pt>
                <c:pt idx="12">
                  <c:v>44074</c:v>
                </c:pt>
                <c:pt idx="13">
                  <c:v>44104</c:v>
                </c:pt>
                <c:pt idx="14">
                  <c:v>44135</c:v>
                </c:pt>
                <c:pt idx="15">
                  <c:v>44165</c:v>
                </c:pt>
                <c:pt idx="16">
                  <c:v>44196</c:v>
                </c:pt>
                <c:pt idx="17">
                  <c:v>44227</c:v>
                </c:pt>
                <c:pt idx="18">
                  <c:v>44255</c:v>
                </c:pt>
                <c:pt idx="19">
                  <c:v>44286</c:v>
                </c:pt>
                <c:pt idx="20">
                  <c:v>44316</c:v>
                </c:pt>
                <c:pt idx="21">
                  <c:v>44347</c:v>
                </c:pt>
                <c:pt idx="22">
                  <c:v>44377</c:v>
                </c:pt>
              </c:numCache>
            </c:numRef>
          </c:cat>
          <c:val>
            <c:numRef>
              <c:f>Sheet1!$C$2:$C$24</c:f>
              <c:numCache>
                <c:formatCode>0.0</c:formatCode>
                <c:ptCount val="23"/>
                <c:pt idx="0">
                  <c:v>18983.853999999999</c:v>
                </c:pt>
                <c:pt idx="1">
                  <c:v>18553.034</c:v>
                </c:pt>
                <c:pt idx="2">
                  <c:v>18488.958999999999</c:v>
                </c:pt>
                <c:pt idx="3">
                  <c:v>18417.572</c:v>
                </c:pt>
                <c:pt idx="4">
                  <c:v>18355.151000000002</c:v>
                </c:pt>
                <c:pt idx="5">
                  <c:v>18285.311000000002</c:v>
                </c:pt>
                <c:pt idx="6">
                  <c:v>18230.603999999999</c:v>
                </c:pt>
                <c:pt idx="7">
                  <c:v>17624.901000000002</c:v>
                </c:pt>
                <c:pt idx="8">
                  <c:v>17457.531999999999</c:v>
                </c:pt>
                <c:pt idx="9">
                  <c:v>17321.966</c:v>
                </c:pt>
                <c:pt idx="10">
                  <c:v>17153.784</c:v>
                </c:pt>
                <c:pt idx="11">
                  <c:v>16993.937999999998</c:v>
                </c:pt>
                <c:pt idx="12">
                  <c:v>16874.13</c:v>
                </c:pt>
                <c:pt idx="13">
                  <c:v>16780.103999999999</c:v>
                </c:pt>
                <c:pt idx="14">
                  <c:v>16683.322</c:v>
                </c:pt>
                <c:pt idx="15">
                  <c:v>16639.489000000001</c:v>
                </c:pt>
                <c:pt idx="16">
                  <c:v>16588.296999999999</c:v>
                </c:pt>
                <c:pt idx="17">
                  <c:v>16489.402999999998</c:v>
                </c:pt>
                <c:pt idx="18">
                  <c:v>16381.212</c:v>
                </c:pt>
                <c:pt idx="19">
                  <c:v>16319.897000000001</c:v>
                </c:pt>
                <c:pt idx="20">
                  <c:v>16240.65</c:v>
                </c:pt>
                <c:pt idx="21">
                  <c:v>16234.887000000001</c:v>
                </c:pt>
                <c:pt idx="22">
                  <c:v>16154.5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4F0-48EF-A93E-5F0E3BC716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24162320"/>
        <c:axId val="1024162976"/>
      </c:line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mber of accounts: personal cards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4</c:f>
              <c:numCache>
                <c:formatCode>mmm\-yyyy</c:formatCode>
                <c:ptCount val="23"/>
                <c:pt idx="0">
                  <c:v>43708</c:v>
                </c:pt>
                <c:pt idx="1">
                  <c:v>43738</c:v>
                </c:pt>
                <c:pt idx="2">
                  <c:v>43769</c:v>
                </c:pt>
                <c:pt idx="3">
                  <c:v>43799</c:v>
                </c:pt>
                <c:pt idx="4">
                  <c:v>43830</c:v>
                </c:pt>
                <c:pt idx="5">
                  <c:v>43861</c:v>
                </c:pt>
                <c:pt idx="6">
                  <c:v>43890</c:v>
                </c:pt>
                <c:pt idx="7">
                  <c:v>43921</c:v>
                </c:pt>
                <c:pt idx="8">
                  <c:v>43951</c:v>
                </c:pt>
                <c:pt idx="9">
                  <c:v>43982</c:v>
                </c:pt>
                <c:pt idx="10">
                  <c:v>44012</c:v>
                </c:pt>
                <c:pt idx="11">
                  <c:v>44043</c:v>
                </c:pt>
                <c:pt idx="12">
                  <c:v>44074</c:v>
                </c:pt>
                <c:pt idx="13">
                  <c:v>44104</c:v>
                </c:pt>
                <c:pt idx="14">
                  <c:v>44135</c:v>
                </c:pt>
                <c:pt idx="15">
                  <c:v>44165</c:v>
                </c:pt>
                <c:pt idx="16">
                  <c:v>44196</c:v>
                </c:pt>
                <c:pt idx="17">
                  <c:v>44227</c:v>
                </c:pt>
                <c:pt idx="18">
                  <c:v>44255</c:v>
                </c:pt>
                <c:pt idx="19">
                  <c:v>44286</c:v>
                </c:pt>
                <c:pt idx="20">
                  <c:v>44316</c:v>
                </c:pt>
                <c:pt idx="21">
                  <c:v>44347</c:v>
                </c:pt>
                <c:pt idx="22">
                  <c:v>44377</c:v>
                </c:pt>
              </c:numCache>
            </c:numRef>
          </c:cat>
          <c:val>
            <c:numRef>
              <c:f>Sheet1!$B$2:$B$24</c:f>
              <c:numCache>
                <c:formatCode>0.0</c:formatCode>
                <c:ptCount val="23"/>
                <c:pt idx="0">
                  <c:v>14501.216</c:v>
                </c:pt>
                <c:pt idx="1">
                  <c:v>13906.927</c:v>
                </c:pt>
                <c:pt idx="2">
                  <c:v>13895.446</c:v>
                </c:pt>
                <c:pt idx="3">
                  <c:v>13857.585999999999</c:v>
                </c:pt>
                <c:pt idx="4">
                  <c:v>13794.218000000001</c:v>
                </c:pt>
                <c:pt idx="5">
                  <c:v>13778.477999999999</c:v>
                </c:pt>
                <c:pt idx="6">
                  <c:v>13740.285</c:v>
                </c:pt>
                <c:pt idx="7">
                  <c:v>13641.553</c:v>
                </c:pt>
                <c:pt idx="8">
                  <c:v>13504.736000000001</c:v>
                </c:pt>
                <c:pt idx="9">
                  <c:v>13401.835999999999</c:v>
                </c:pt>
                <c:pt idx="10">
                  <c:v>13268.098</c:v>
                </c:pt>
                <c:pt idx="11">
                  <c:v>13142.485000000001</c:v>
                </c:pt>
                <c:pt idx="12">
                  <c:v>13057.683999999999</c:v>
                </c:pt>
                <c:pt idx="13">
                  <c:v>12987.351000000001</c:v>
                </c:pt>
                <c:pt idx="14">
                  <c:v>12909.231</c:v>
                </c:pt>
                <c:pt idx="15">
                  <c:v>12857.898999999999</c:v>
                </c:pt>
                <c:pt idx="16">
                  <c:v>12822.938</c:v>
                </c:pt>
                <c:pt idx="17">
                  <c:v>12747.986000000001</c:v>
                </c:pt>
                <c:pt idx="18">
                  <c:v>12687.19</c:v>
                </c:pt>
                <c:pt idx="19">
                  <c:v>12644.279</c:v>
                </c:pt>
                <c:pt idx="20">
                  <c:v>12585.728999999999</c:v>
                </c:pt>
                <c:pt idx="21">
                  <c:v>12545.352999999999</c:v>
                </c:pt>
                <c:pt idx="22">
                  <c:v>12516.182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4F0-48EF-A93E-5F0E3BC716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26678888"/>
        <c:axId val="1226679544"/>
      </c:lineChart>
      <c:dateAx>
        <c:axId val="1024162320"/>
        <c:scaling>
          <c:orientation val="minMax"/>
        </c:scaling>
        <c:delete val="0"/>
        <c:axPos val="b"/>
        <c:numFmt formatCode="mmm\-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4162976"/>
        <c:crosses val="autoZero"/>
        <c:auto val="1"/>
        <c:lblOffset val="100"/>
        <c:baseTimeUnit val="months"/>
      </c:dateAx>
      <c:valAx>
        <c:axId val="1024162976"/>
        <c:scaling>
          <c:orientation val="minMax"/>
          <c:min val="14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dirty="0">
                    <a:solidFill>
                      <a:srgbClr val="0070C0"/>
                    </a:solidFill>
                  </a:rPr>
                  <a:t>No of cards on issue, mil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0070C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4162320"/>
        <c:crosses val="autoZero"/>
        <c:crossBetween val="between"/>
      </c:valAx>
      <c:valAx>
        <c:axId val="1226679544"/>
        <c:scaling>
          <c:orientation val="minMax"/>
          <c:min val="1000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4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dirty="0">
                    <a:solidFill>
                      <a:schemeClr val="accent4">
                        <a:lumMod val="75000"/>
                      </a:schemeClr>
                    </a:solidFill>
                  </a:rPr>
                  <a:t>No</a:t>
                </a:r>
                <a:r>
                  <a:rPr lang="en-AU" baseline="0" dirty="0">
                    <a:solidFill>
                      <a:schemeClr val="accent4">
                        <a:lumMod val="75000"/>
                      </a:schemeClr>
                    </a:solidFill>
                  </a:rPr>
                  <a:t> of accounts, mil</a:t>
                </a:r>
                <a:endParaRPr lang="en-AU" dirty="0">
                  <a:solidFill>
                    <a:schemeClr val="accent4">
                      <a:lumMod val="75000"/>
                    </a:schemeClr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accent4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6678888"/>
        <c:crosses val="max"/>
        <c:crossBetween val="between"/>
      </c:valAx>
      <c:dateAx>
        <c:axId val="1226678888"/>
        <c:scaling>
          <c:orientation val="minMax"/>
        </c:scaling>
        <c:delete val="1"/>
        <c:axPos val="b"/>
        <c:numFmt formatCode="mmm\-yyyy" sourceLinked="1"/>
        <c:majorTickMark val="out"/>
        <c:minorTickMark val="none"/>
        <c:tickLblPos val="nextTo"/>
        <c:crossAx val="1226679544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sz="1200" b="1" dirty="0"/>
              <a:t>Transactions</a:t>
            </a:r>
            <a:r>
              <a:rPr lang="en-AU" sz="1200" b="1" baseline="0" dirty="0"/>
              <a:t> volume </a:t>
            </a:r>
            <a:r>
              <a:rPr lang="en-AU" sz="1200" baseline="0" dirty="0"/>
              <a:t>remained strong despite hiccup in </a:t>
            </a:r>
            <a:r>
              <a:rPr lang="en-AU" sz="1200" baseline="0" dirty="0">
                <a:solidFill>
                  <a:schemeClr val="accent1"/>
                </a:solidFill>
              </a:rPr>
              <a:t>Mar2020</a:t>
            </a:r>
            <a:endParaRPr lang="en-AU" sz="1200" dirty="0">
              <a:solidFill>
                <a:schemeClr val="accent1"/>
              </a:solidFill>
            </a:endParaRPr>
          </a:p>
        </c:rich>
      </c:tx>
      <c:layout>
        <c:manualLayout>
          <c:xMode val="edge"/>
          <c:yMode val="edge"/>
          <c:x val="0.15854933147735223"/>
          <c:y val="2.70610044533464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094881983402748"/>
          <c:y val="0.21856481481481482"/>
          <c:w val="0.76309749536189164"/>
          <c:h val="0.45616688538932632"/>
        </c:manualLayout>
      </c:layout>
      <c:lineChart>
        <c:grouping val="standard"/>
        <c:varyColors val="0"/>
        <c:ser>
          <c:idx val="1"/>
          <c:order val="1"/>
          <c:tx>
            <c:strRef>
              <c:f>Sheet1!$Q$1</c:f>
              <c:strCache>
                <c:ptCount val="1"/>
                <c:pt idx="0">
                  <c:v>Number of purchases: personal cards</c:v>
                </c:pt>
              </c:strCache>
            </c:strRef>
          </c:tx>
          <c:spPr>
            <a:ln w="2857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O$2:$O$24</c:f>
              <c:numCache>
                <c:formatCode>mmm\-yyyy</c:formatCode>
                <c:ptCount val="23"/>
                <c:pt idx="0">
                  <c:v>43708</c:v>
                </c:pt>
                <c:pt idx="1">
                  <c:v>43738</c:v>
                </c:pt>
                <c:pt idx="2">
                  <c:v>43769</c:v>
                </c:pt>
                <c:pt idx="3">
                  <c:v>43799</c:v>
                </c:pt>
                <c:pt idx="4">
                  <c:v>43830</c:v>
                </c:pt>
                <c:pt idx="5">
                  <c:v>43861</c:v>
                </c:pt>
                <c:pt idx="6">
                  <c:v>43890</c:v>
                </c:pt>
                <c:pt idx="7">
                  <c:v>43921</c:v>
                </c:pt>
                <c:pt idx="8">
                  <c:v>43951</c:v>
                </c:pt>
                <c:pt idx="9">
                  <c:v>43982</c:v>
                </c:pt>
                <c:pt idx="10">
                  <c:v>44012</c:v>
                </c:pt>
                <c:pt idx="11">
                  <c:v>44043</c:v>
                </c:pt>
                <c:pt idx="12">
                  <c:v>44074</c:v>
                </c:pt>
                <c:pt idx="13">
                  <c:v>44104</c:v>
                </c:pt>
                <c:pt idx="14">
                  <c:v>44135</c:v>
                </c:pt>
                <c:pt idx="15">
                  <c:v>44165</c:v>
                </c:pt>
                <c:pt idx="16">
                  <c:v>44196</c:v>
                </c:pt>
                <c:pt idx="17">
                  <c:v>44227</c:v>
                </c:pt>
                <c:pt idx="18">
                  <c:v>44255</c:v>
                </c:pt>
                <c:pt idx="19">
                  <c:v>44286</c:v>
                </c:pt>
                <c:pt idx="20">
                  <c:v>44316</c:v>
                </c:pt>
                <c:pt idx="21">
                  <c:v>44347</c:v>
                </c:pt>
                <c:pt idx="22">
                  <c:v>44377</c:v>
                </c:pt>
              </c:numCache>
            </c:numRef>
          </c:cat>
          <c:val>
            <c:numRef>
              <c:f>Sheet1!$Q$2:$Q$24</c:f>
              <c:numCache>
                <c:formatCode>0.0</c:formatCode>
                <c:ptCount val="23"/>
                <c:pt idx="0">
                  <c:v>225961.21</c:v>
                </c:pt>
                <c:pt idx="1">
                  <c:v>232680.46299999999</c:v>
                </c:pt>
                <c:pt idx="2">
                  <c:v>245703.70699999999</c:v>
                </c:pt>
                <c:pt idx="3">
                  <c:v>236714.10399999999</c:v>
                </c:pt>
                <c:pt idx="4">
                  <c:v>273358.304</c:v>
                </c:pt>
                <c:pt idx="5">
                  <c:v>237958.28599999999</c:v>
                </c:pt>
                <c:pt idx="6">
                  <c:v>218158.367</c:v>
                </c:pt>
                <c:pt idx="7">
                  <c:v>240880.527</c:v>
                </c:pt>
                <c:pt idx="8">
                  <c:v>171053.39300000001</c:v>
                </c:pt>
                <c:pt idx="9">
                  <c:v>193112.82699999999</c:v>
                </c:pt>
                <c:pt idx="10">
                  <c:v>225915.80900000001</c:v>
                </c:pt>
                <c:pt idx="11">
                  <c:v>227525.13399999999</c:v>
                </c:pt>
                <c:pt idx="12">
                  <c:v>216828.65599999999</c:v>
                </c:pt>
                <c:pt idx="13">
                  <c:v>225381.34</c:v>
                </c:pt>
                <c:pt idx="14">
                  <c:v>232110.236</c:v>
                </c:pt>
                <c:pt idx="15">
                  <c:v>253383.902</c:v>
                </c:pt>
                <c:pt idx="16">
                  <c:v>279655.48200000002</c:v>
                </c:pt>
                <c:pt idx="17">
                  <c:v>230285.503</c:v>
                </c:pt>
                <c:pt idx="18">
                  <c:v>223555.17800000001</c:v>
                </c:pt>
                <c:pt idx="19">
                  <c:v>272369.92499999999</c:v>
                </c:pt>
                <c:pt idx="20">
                  <c:v>250347.03200000001</c:v>
                </c:pt>
                <c:pt idx="21">
                  <c:v>259972.85500000001</c:v>
                </c:pt>
                <c:pt idx="22">
                  <c:v>244053.9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4CB-4848-8DA5-7B9780F739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95012016"/>
        <c:axId val="1695010376"/>
      </c:lineChart>
      <c:lineChart>
        <c:grouping val="standard"/>
        <c:varyColors val="0"/>
        <c:ser>
          <c:idx val="0"/>
          <c:order val="0"/>
          <c:tx>
            <c:strRef>
              <c:f>Sheet1!$P$1</c:f>
              <c:strCache>
                <c:ptCount val="1"/>
                <c:pt idx="0">
                  <c:v>Number of cash advances: personal cards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numRef>
              <c:f>Sheet1!$O$2:$O$24</c:f>
              <c:numCache>
                <c:formatCode>mmm\-yyyy</c:formatCode>
                <c:ptCount val="23"/>
                <c:pt idx="0">
                  <c:v>43708</c:v>
                </c:pt>
                <c:pt idx="1">
                  <c:v>43738</c:v>
                </c:pt>
                <c:pt idx="2">
                  <c:v>43769</c:v>
                </c:pt>
                <c:pt idx="3">
                  <c:v>43799</c:v>
                </c:pt>
                <c:pt idx="4">
                  <c:v>43830</c:v>
                </c:pt>
                <c:pt idx="5">
                  <c:v>43861</c:v>
                </c:pt>
                <c:pt idx="6">
                  <c:v>43890</c:v>
                </c:pt>
                <c:pt idx="7">
                  <c:v>43921</c:v>
                </c:pt>
                <c:pt idx="8">
                  <c:v>43951</c:v>
                </c:pt>
                <c:pt idx="9">
                  <c:v>43982</c:v>
                </c:pt>
                <c:pt idx="10">
                  <c:v>44012</c:v>
                </c:pt>
                <c:pt idx="11">
                  <c:v>44043</c:v>
                </c:pt>
                <c:pt idx="12">
                  <c:v>44074</c:v>
                </c:pt>
                <c:pt idx="13">
                  <c:v>44104</c:v>
                </c:pt>
                <c:pt idx="14">
                  <c:v>44135</c:v>
                </c:pt>
                <c:pt idx="15">
                  <c:v>44165</c:v>
                </c:pt>
                <c:pt idx="16">
                  <c:v>44196</c:v>
                </c:pt>
                <c:pt idx="17">
                  <c:v>44227</c:v>
                </c:pt>
                <c:pt idx="18">
                  <c:v>44255</c:v>
                </c:pt>
                <c:pt idx="19">
                  <c:v>44286</c:v>
                </c:pt>
                <c:pt idx="20">
                  <c:v>44316</c:v>
                </c:pt>
                <c:pt idx="21">
                  <c:v>44347</c:v>
                </c:pt>
                <c:pt idx="22">
                  <c:v>44377</c:v>
                </c:pt>
              </c:numCache>
            </c:numRef>
          </c:cat>
          <c:val>
            <c:numRef>
              <c:f>Sheet1!$P$2:$P$24</c:f>
              <c:numCache>
                <c:formatCode>0.0</c:formatCode>
                <c:ptCount val="23"/>
                <c:pt idx="0">
                  <c:v>1435.481</c:v>
                </c:pt>
                <c:pt idx="1">
                  <c:v>1580.077</c:v>
                </c:pt>
                <c:pt idx="2">
                  <c:v>1494.59</c:v>
                </c:pt>
                <c:pt idx="3">
                  <c:v>1431.713</c:v>
                </c:pt>
                <c:pt idx="4">
                  <c:v>1445.7729999999999</c:v>
                </c:pt>
                <c:pt idx="5">
                  <c:v>1387.7449999999999</c:v>
                </c:pt>
                <c:pt idx="6">
                  <c:v>1257.712</c:v>
                </c:pt>
                <c:pt idx="7">
                  <c:v>1292.347</c:v>
                </c:pt>
                <c:pt idx="8">
                  <c:v>863.04</c:v>
                </c:pt>
                <c:pt idx="9">
                  <c:v>864.81299999999999</c:v>
                </c:pt>
                <c:pt idx="10">
                  <c:v>1080.7270000000001</c:v>
                </c:pt>
                <c:pt idx="11">
                  <c:v>1130.011</c:v>
                </c:pt>
                <c:pt idx="12">
                  <c:v>1065.8409999999999</c:v>
                </c:pt>
                <c:pt idx="13">
                  <c:v>1109.998</c:v>
                </c:pt>
                <c:pt idx="14">
                  <c:v>1111.45</c:v>
                </c:pt>
                <c:pt idx="15">
                  <c:v>1202.5319999999999</c:v>
                </c:pt>
                <c:pt idx="16">
                  <c:v>1102.124</c:v>
                </c:pt>
                <c:pt idx="17">
                  <c:v>1055.7570000000001</c:v>
                </c:pt>
                <c:pt idx="18">
                  <c:v>1058.5070000000001</c:v>
                </c:pt>
                <c:pt idx="19">
                  <c:v>1234.2750000000001</c:v>
                </c:pt>
                <c:pt idx="20">
                  <c:v>1137.741</c:v>
                </c:pt>
                <c:pt idx="21">
                  <c:v>1145.7159999999999</c:v>
                </c:pt>
                <c:pt idx="22">
                  <c:v>1043.3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4CB-4848-8DA5-7B9780F739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95020872"/>
        <c:axId val="1695016608"/>
      </c:lineChart>
      <c:dateAx>
        <c:axId val="1695012016"/>
        <c:scaling>
          <c:orientation val="minMax"/>
        </c:scaling>
        <c:delete val="0"/>
        <c:axPos val="b"/>
        <c:numFmt formatCode="mmm\-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95010376"/>
        <c:crosses val="autoZero"/>
        <c:auto val="1"/>
        <c:lblOffset val="100"/>
        <c:baseTimeUnit val="months"/>
      </c:dateAx>
      <c:valAx>
        <c:axId val="1695010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dirty="0">
                    <a:solidFill>
                      <a:schemeClr val="accent4">
                        <a:lumMod val="50000"/>
                      </a:schemeClr>
                    </a:solidFill>
                  </a:rPr>
                  <a:t>Number</a:t>
                </a:r>
                <a:r>
                  <a:rPr lang="en-AU" baseline="0" dirty="0">
                    <a:solidFill>
                      <a:schemeClr val="accent4">
                        <a:lumMod val="50000"/>
                      </a:schemeClr>
                    </a:solidFill>
                  </a:rPr>
                  <a:t> of purchases, mil</a:t>
                </a:r>
                <a:endParaRPr lang="en-AU" dirty="0">
                  <a:solidFill>
                    <a:schemeClr val="accent4">
                      <a:lumMod val="50000"/>
                    </a:schemeClr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95012016"/>
        <c:crosses val="autoZero"/>
        <c:crossBetween val="between"/>
      </c:valAx>
      <c:valAx>
        <c:axId val="1695016608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dirty="0">
                    <a:solidFill>
                      <a:srgbClr val="00B050"/>
                    </a:solidFill>
                  </a:rPr>
                  <a:t>No of cash advances, mil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95020872"/>
        <c:crosses val="max"/>
        <c:crossBetween val="between"/>
      </c:valAx>
      <c:dateAx>
        <c:axId val="1695020872"/>
        <c:scaling>
          <c:orientation val="minMax"/>
        </c:scaling>
        <c:delete val="1"/>
        <c:axPos val="b"/>
        <c:numFmt formatCode="mmm\-yyyy" sourceLinked="1"/>
        <c:majorTickMark val="out"/>
        <c:minorTickMark val="none"/>
        <c:tickLblPos val="nextTo"/>
        <c:crossAx val="1695016608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sz="1200" baseline="0" dirty="0">
                <a:solidFill>
                  <a:schemeClr val="tx1"/>
                </a:solidFill>
              </a:rPr>
              <a:t>Huge impact on </a:t>
            </a:r>
            <a:r>
              <a:rPr lang="en-AU" sz="1200" baseline="0" dirty="0">
                <a:solidFill>
                  <a:schemeClr val="accent1"/>
                </a:solidFill>
              </a:rPr>
              <a:t>overseas purchases post COVID19 </a:t>
            </a:r>
            <a:r>
              <a:rPr lang="en-AU" sz="1200" baseline="0" dirty="0">
                <a:solidFill>
                  <a:schemeClr val="tx1"/>
                </a:solidFill>
              </a:rPr>
              <a:t>but reached plateau</a:t>
            </a:r>
            <a:endParaRPr lang="en-AU" sz="120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18012679043513075"/>
          <c:y val="3.754572189410775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928511828369967"/>
          <c:y val="0.17624578438734773"/>
          <c:w val="0.77705892614926464"/>
          <c:h val="0.47972114764480872"/>
        </c:manualLayout>
      </c:layout>
      <c:lineChart>
        <c:grouping val="standard"/>
        <c:varyColors val="0"/>
        <c:ser>
          <c:idx val="0"/>
          <c:order val="0"/>
          <c:tx>
            <c:strRef>
              <c:f>Sheet1!$T$1</c:f>
              <c:strCache>
                <c:ptCount val="1"/>
                <c:pt idx="0">
                  <c:v>Number of domestic purchases: personal cards</c:v>
                </c:pt>
              </c:strCache>
            </c:strRef>
          </c:tx>
          <c:spPr>
            <a:ln w="28575" cap="rnd">
              <a:solidFill>
                <a:schemeClr val="tx2">
                  <a:lumMod val="90000"/>
                  <a:lumOff val="1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S$2:$S$24</c:f>
              <c:numCache>
                <c:formatCode>mmm\-yyyy</c:formatCode>
                <c:ptCount val="23"/>
                <c:pt idx="0">
                  <c:v>43708</c:v>
                </c:pt>
                <c:pt idx="1">
                  <c:v>43738</c:v>
                </c:pt>
                <c:pt idx="2">
                  <c:v>43769</c:v>
                </c:pt>
                <c:pt idx="3">
                  <c:v>43799</c:v>
                </c:pt>
                <c:pt idx="4">
                  <c:v>43830</c:v>
                </c:pt>
                <c:pt idx="5">
                  <c:v>43861</c:v>
                </c:pt>
                <c:pt idx="6">
                  <c:v>43890</c:v>
                </c:pt>
                <c:pt idx="7">
                  <c:v>43921</c:v>
                </c:pt>
                <c:pt idx="8">
                  <c:v>43951</c:v>
                </c:pt>
                <c:pt idx="9">
                  <c:v>43982</c:v>
                </c:pt>
                <c:pt idx="10">
                  <c:v>44012</c:v>
                </c:pt>
                <c:pt idx="11">
                  <c:v>44043</c:v>
                </c:pt>
                <c:pt idx="12">
                  <c:v>44074</c:v>
                </c:pt>
                <c:pt idx="13">
                  <c:v>44104</c:v>
                </c:pt>
                <c:pt idx="14">
                  <c:v>44135</c:v>
                </c:pt>
                <c:pt idx="15">
                  <c:v>44165</c:v>
                </c:pt>
                <c:pt idx="16">
                  <c:v>44196</c:v>
                </c:pt>
                <c:pt idx="17">
                  <c:v>44227</c:v>
                </c:pt>
                <c:pt idx="18">
                  <c:v>44255</c:v>
                </c:pt>
                <c:pt idx="19">
                  <c:v>44286</c:v>
                </c:pt>
                <c:pt idx="20">
                  <c:v>44316</c:v>
                </c:pt>
                <c:pt idx="21">
                  <c:v>44347</c:v>
                </c:pt>
                <c:pt idx="22">
                  <c:v>44377</c:v>
                </c:pt>
              </c:numCache>
            </c:numRef>
          </c:cat>
          <c:val>
            <c:numRef>
              <c:f>Sheet1!$T$2:$T$24</c:f>
              <c:numCache>
                <c:formatCode>0.0</c:formatCode>
                <c:ptCount val="23"/>
                <c:pt idx="0">
                  <c:v>216239.07699999999</c:v>
                </c:pt>
                <c:pt idx="1">
                  <c:v>222128.484</c:v>
                </c:pt>
                <c:pt idx="2">
                  <c:v>235494.01199999999</c:v>
                </c:pt>
                <c:pt idx="3">
                  <c:v>228173.31200000001</c:v>
                </c:pt>
                <c:pt idx="4">
                  <c:v>262776.26500000001</c:v>
                </c:pt>
                <c:pt idx="5">
                  <c:v>227448.62899999999</c:v>
                </c:pt>
                <c:pt idx="6">
                  <c:v>210768.636</c:v>
                </c:pt>
                <c:pt idx="7">
                  <c:v>234339.76300000001</c:v>
                </c:pt>
                <c:pt idx="8">
                  <c:v>166310.65700000001</c:v>
                </c:pt>
                <c:pt idx="9">
                  <c:v>188288.234</c:v>
                </c:pt>
                <c:pt idx="10">
                  <c:v>220905.486</c:v>
                </c:pt>
                <c:pt idx="11">
                  <c:v>222369.753</c:v>
                </c:pt>
                <c:pt idx="12">
                  <c:v>211554.85200000001</c:v>
                </c:pt>
                <c:pt idx="13">
                  <c:v>220144.30600000001</c:v>
                </c:pt>
                <c:pt idx="14">
                  <c:v>226917.12599999999</c:v>
                </c:pt>
                <c:pt idx="15">
                  <c:v>247880.16699999999</c:v>
                </c:pt>
                <c:pt idx="16">
                  <c:v>273918.93900000001</c:v>
                </c:pt>
                <c:pt idx="17">
                  <c:v>225429.54500000001</c:v>
                </c:pt>
                <c:pt idx="18">
                  <c:v>219018.92</c:v>
                </c:pt>
                <c:pt idx="19">
                  <c:v>267118.228</c:v>
                </c:pt>
                <c:pt idx="20">
                  <c:v>245453.66899999999</c:v>
                </c:pt>
                <c:pt idx="21">
                  <c:v>254596.96100000001</c:v>
                </c:pt>
                <c:pt idx="22">
                  <c:v>238843.668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847-4984-A7D2-70BB049691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69832016"/>
        <c:axId val="1469830376"/>
      </c:lineChart>
      <c:lineChart>
        <c:grouping val="standard"/>
        <c:varyColors val="0"/>
        <c:ser>
          <c:idx val="1"/>
          <c:order val="1"/>
          <c:tx>
            <c:strRef>
              <c:f>Sheet1!$U$1</c:f>
              <c:strCache>
                <c:ptCount val="1"/>
                <c:pt idx="0">
                  <c:v>Number of overseas purchases: personal cards</c:v>
                </c:pt>
              </c:strCache>
            </c:strRef>
          </c:tx>
          <c:spPr>
            <a:ln w="28575" cap="rnd">
              <a:solidFill>
                <a:schemeClr val="accent5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S$2:$S$24</c:f>
              <c:numCache>
                <c:formatCode>mmm\-yyyy</c:formatCode>
                <c:ptCount val="23"/>
                <c:pt idx="0">
                  <c:v>43708</c:v>
                </c:pt>
                <c:pt idx="1">
                  <c:v>43738</c:v>
                </c:pt>
                <c:pt idx="2">
                  <c:v>43769</c:v>
                </c:pt>
                <c:pt idx="3">
                  <c:v>43799</c:v>
                </c:pt>
                <c:pt idx="4">
                  <c:v>43830</c:v>
                </c:pt>
                <c:pt idx="5">
                  <c:v>43861</c:v>
                </c:pt>
                <c:pt idx="6">
                  <c:v>43890</c:v>
                </c:pt>
                <c:pt idx="7">
                  <c:v>43921</c:v>
                </c:pt>
                <c:pt idx="8">
                  <c:v>43951</c:v>
                </c:pt>
                <c:pt idx="9">
                  <c:v>43982</c:v>
                </c:pt>
                <c:pt idx="10">
                  <c:v>44012</c:v>
                </c:pt>
                <c:pt idx="11">
                  <c:v>44043</c:v>
                </c:pt>
                <c:pt idx="12">
                  <c:v>44074</c:v>
                </c:pt>
                <c:pt idx="13">
                  <c:v>44104</c:v>
                </c:pt>
                <c:pt idx="14">
                  <c:v>44135</c:v>
                </c:pt>
                <c:pt idx="15">
                  <c:v>44165</c:v>
                </c:pt>
                <c:pt idx="16">
                  <c:v>44196</c:v>
                </c:pt>
                <c:pt idx="17">
                  <c:v>44227</c:v>
                </c:pt>
                <c:pt idx="18">
                  <c:v>44255</c:v>
                </c:pt>
                <c:pt idx="19">
                  <c:v>44286</c:v>
                </c:pt>
                <c:pt idx="20">
                  <c:v>44316</c:v>
                </c:pt>
                <c:pt idx="21">
                  <c:v>44347</c:v>
                </c:pt>
                <c:pt idx="22">
                  <c:v>44377</c:v>
                </c:pt>
              </c:numCache>
            </c:numRef>
          </c:cat>
          <c:val>
            <c:numRef>
              <c:f>Sheet1!$U$2:$U$24</c:f>
              <c:numCache>
                <c:formatCode>0.0</c:formatCode>
                <c:ptCount val="23"/>
                <c:pt idx="0">
                  <c:v>9722.1329999999998</c:v>
                </c:pt>
                <c:pt idx="1">
                  <c:v>10551.978999999999</c:v>
                </c:pt>
                <c:pt idx="2">
                  <c:v>10209.695</c:v>
                </c:pt>
                <c:pt idx="3">
                  <c:v>8540.7919999999995</c:v>
                </c:pt>
                <c:pt idx="4">
                  <c:v>10582.039000000001</c:v>
                </c:pt>
                <c:pt idx="5">
                  <c:v>10509.656999999999</c:v>
                </c:pt>
                <c:pt idx="6">
                  <c:v>7389.7309999999998</c:v>
                </c:pt>
                <c:pt idx="7">
                  <c:v>6540.7640000000001</c:v>
                </c:pt>
                <c:pt idx="8">
                  <c:v>4742.7359999999999</c:v>
                </c:pt>
                <c:pt idx="9">
                  <c:v>4824.5929999999998</c:v>
                </c:pt>
                <c:pt idx="10">
                  <c:v>5010.3230000000003</c:v>
                </c:pt>
                <c:pt idx="11">
                  <c:v>5155.3810000000003</c:v>
                </c:pt>
                <c:pt idx="12">
                  <c:v>5273.8040000000001</c:v>
                </c:pt>
                <c:pt idx="13">
                  <c:v>5237.0339999999997</c:v>
                </c:pt>
                <c:pt idx="14">
                  <c:v>5193.1099999999997</c:v>
                </c:pt>
                <c:pt idx="15">
                  <c:v>5503.7349999999997</c:v>
                </c:pt>
                <c:pt idx="16">
                  <c:v>5736.5429999999997</c:v>
                </c:pt>
                <c:pt idx="17">
                  <c:v>4855.9579999999996</c:v>
                </c:pt>
                <c:pt idx="18">
                  <c:v>4536.2579999999998</c:v>
                </c:pt>
                <c:pt idx="19">
                  <c:v>5251.6970000000001</c:v>
                </c:pt>
                <c:pt idx="20">
                  <c:v>4893.3630000000003</c:v>
                </c:pt>
                <c:pt idx="21">
                  <c:v>5375.8940000000002</c:v>
                </c:pt>
                <c:pt idx="22">
                  <c:v>5210.252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847-4984-A7D2-70BB049691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69823816"/>
        <c:axId val="1469829064"/>
      </c:lineChart>
      <c:dateAx>
        <c:axId val="1469832016"/>
        <c:scaling>
          <c:orientation val="minMax"/>
        </c:scaling>
        <c:delete val="0"/>
        <c:axPos val="b"/>
        <c:numFmt formatCode="mmm\-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9830376"/>
        <c:crosses val="autoZero"/>
        <c:auto val="1"/>
        <c:lblOffset val="100"/>
        <c:baseTimeUnit val="months"/>
      </c:dateAx>
      <c:valAx>
        <c:axId val="1469830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dirty="0">
                    <a:solidFill>
                      <a:schemeClr val="tx1"/>
                    </a:solidFill>
                  </a:rPr>
                  <a:t>Number</a:t>
                </a:r>
                <a:r>
                  <a:rPr lang="en-AU" baseline="0" dirty="0">
                    <a:solidFill>
                      <a:schemeClr val="tx1"/>
                    </a:solidFill>
                  </a:rPr>
                  <a:t> of domestic, mil</a:t>
                </a:r>
                <a:endParaRPr lang="en-AU" dirty="0">
                  <a:solidFill>
                    <a:schemeClr val="tx1"/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9832016"/>
        <c:crosses val="autoZero"/>
        <c:crossBetween val="between"/>
      </c:valAx>
      <c:valAx>
        <c:axId val="1469829064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dirty="0">
                    <a:solidFill>
                      <a:schemeClr val="accent5">
                        <a:lumMod val="75000"/>
                      </a:schemeClr>
                    </a:solidFill>
                  </a:rPr>
                  <a:t>Number of overseas,</a:t>
                </a:r>
                <a:r>
                  <a:rPr lang="en-AU" baseline="0" dirty="0">
                    <a:solidFill>
                      <a:schemeClr val="accent5">
                        <a:lumMod val="75000"/>
                      </a:schemeClr>
                    </a:solidFill>
                  </a:rPr>
                  <a:t> mil</a:t>
                </a:r>
                <a:endParaRPr lang="en-AU" dirty="0">
                  <a:solidFill>
                    <a:schemeClr val="accent5">
                      <a:lumMod val="75000"/>
                    </a:schemeClr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9823816"/>
        <c:crosses val="max"/>
        <c:crossBetween val="between"/>
      </c:valAx>
      <c:dateAx>
        <c:axId val="1469823816"/>
        <c:scaling>
          <c:orientation val="minMax"/>
        </c:scaling>
        <c:delete val="1"/>
        <c:axPos val="b"/>
        <c:numFmt formatCode="mmm\-yyyy" sourceLinked="1"/>
        <c:majorTickMark val="out"/>
        <c:minorTickMark val="none"/>
        <c:tickLblPos val="nextTo"/>
        <c:crossAx val="1469829064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sz="1200" b="0" baseline="0" dirty="0"/>
              <a:t>A dip in </a:t>
            </a:r>
            <a:r>
              <a:rPr lang="en-AU" sz="1200" b="0" baseline="0" dirty="0">
                <a:solidFill>
                  <a:schemeClr val="accent2">
                    <a:lumMod val="75000"/>
                  </a:schemeClr>
                </a:solidFill>
              </a:rPr>
              <a:t>balances</a:t>
            </a:r>
            <a:r>
              <a:rPr lang="en-AU" sz="1200" b="0" baseline="0" dirty="0"/>
              <a:t> post COVID19 which may be due to </a:t>
            </a:r>
            <a:r>
              <a:rPr lang="en-AU" sz="1200" b="0" baseline="0" dirty="0">
                <a:solidFill>
                  <a:schemeClr val="accent2">
                    <a:lumMod val="75000"/>
                  </a:schemeClr>
                </a:solidFill>
              </a:rPr>
              <a:t>economy uncertainty</a:t>
            </a:r>
            <a:endParaRPr lang="en-AU" sz="1200" b="0" dirty="0"/>
          </a:p>
        </c:rich>
      </c:tx>
      <c:layout>
        <c:manualLayout>
          <c:xMode val="edge"/>
          <c:yMode val="edge"/>
          <c:x val="0.17750541696014793"/>
          <c:y val="3.84101088147797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1"/>
          <c:tx>
            <c:strRef>
              <c:f>Sheet1!$Y$1</c:f>
              <c:strCache>
                <c:ptCount val="1"/>
                <c:pt idx="0">
                  <c:v>Total balances: personal cards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numRef>
              <c:f>Sheet1!$W$2:$W$24</c:f>
              <c:numCache>
                <c:formatCode>mmm\-yyyy</c:formatCode>
                <c:ptCount val="23"/>
                <c:pt idx="0">
                  <c:v>43708</c:v>
                </c:pt>
                <c:pt idx="1">
                  <c:v>43738</c:v>
                </c:pt>
                <c:pt idx="2">
                  <c:v>43769</c:v>
                </c:pt>
                <c:pt idx="3">
                  <c:v>43799</c:v>
                </c:pt>
                <c:pt idx="4">
                  <c:v>43830</c:v>
                </c:pt>
                <c:pt idx="5">
                  <c:v>43861</c:v>
                </c:pt>
                <c:pt idx="6">
                  <c:v>43890</c:v>
                </c:pt>
                <c:pt idx="7">
                  <c:v>43921</c:v>
                </c:pt>
                <c:pt idx="8">
                  <c:v>43951</c:v>
                </c:pt>
                <c:pt idx="9">
                  <c:v>43982</c:v>
                </c:pt>
                <c:pt idx="10">
                  <c:v>44012</c:v>
                </c:pt>
                <c:pt idx="11">
                  <c:v>44043</c:v>
                </c:pt>
                <c:pt idx="12">
                  <c:v>44074</c:v>
                </c:pt>
                <c:pt idx="13">
                  <c:v>44104</c:v>
                </c:pt>
                <c:pt idx="14">
                  <c:v>44135</c:v>
                </c:pt>
                <c:pt idx="15">
                  <c:v>44165</c:v>
                </c:pt>
                <c:pt idx="16">
                  <c:v>44196</c:v>
                </c:pt>
                <c:pt idx="17">
                  <c:v>44227</c:v>
                </c:pt>
                <c:pt idx="18">
                  <c:v>44255</c:v>
                </c:pt>
                <c:pt idx="19">
                  <c:v>44286</c:v>
                </c:pt>
                <c:pt idx="20">
                  <c:v>44316</c:v>
                </c:pt>
                <c:pt idx="21">
                  <c:v>44347</c:v>
                </c:pt>
                <c:pt idx="22">
                  <c:v>44377</c:v>
                </c:pt>
              </c:numCache>
            </c:numRef>
          </c:cat>
          <c:val>
            <c:numRef>
              <c:f>Sheet1!$Y$2:$Y$24</c:f>
              <c:numCache>
                <c:formatCode>0.0</c:formatCode>
                <c:ptCount val="23"/>
                <c:pt idx="0">
                  <c:v>43645.319548212101</c:v>
                </c:pt>
                <c:pt idx="1">
                  <c:v>43314.965983517803</c:v>
                </c:pt>
                <c:pt idx="2">
                  <c:v>43137.7566991766</c:v>
                </c:pt>
                <c:pt idx="3">
                  <c:v>43251.774584138497</c:v>
                </c:pt>
                <c:pt idx="4">
                  <c:v>43783.915003883303</c:v>
                </c:pt>
                <c:pt idx="5">
                  <c:v>42744.357822201397</c:v>
                </c:pt>
                <c:pt idx="6">
                  <c:v>43028.951675766002</c:v>
                </c:pt>
                <c:pt idx="7">
                  <c:v>41525.974532078297</c:v>
                </c:pt>
                <c:pt idx="8">
                  <c:v>37120.2185439733</c:v>
                </c:pt>
                <c:pt idx="9">
                  <c:v>36068.814232980199</c:v>
                </c:pt>
                <c:pt idx="10">
                  <c:v>36352.280934870199</c:v>
                </c:pt>
                <c:pt idx="11">
                  <c:v>34492.836250099499</c:v>
                </c:pt>
                <c:pt idx="12">
                  <c:v>33501.349273186097</c:v>
                </c:pt>
                <c:pt idx="13">
                  <c:v>33490.438638034298</c:v>
                </c:pt>
                <c:pt idx="14">
                  <c:v>33248.819759448699</c:v>
                </c:pt>
                <c:pt idx="15">
                  <c:v>34696.012321142502</c:v>
                </c:pt>
                <c:pt idx="16">
                  <c:v>35488.987873862599</c:v>
                </c:pt>
                <c:pt idx="17">
                  <c:v>34053.721978150003</c:v>
                </c:pt>
                <c:pt idx="18">
                  <c:v>34377.963282030003</c:v>
                </c:pt>
                <c:pt idx="19">
                  <c:v>34590.52233444</c:v>
                </c:pt>
                <c:pt idx="20">
                  <c:v>34268.42448152</c:v>
                </c:pt>
                <c:pt idx="21">
                  <c:v>34310.889593419997</c:v>
                </c:pt>
                <c:pt idx="22">
                  <c:v>34223.43272838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602-4F05-AD0B-89D7B8F782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99355128"/>
        <c:axId val="1699360048"/>
      </c:lineChart>
      <c:lineChart>
        <c:grouping val="standard"/>
        <c:varyColors val="0"/>
        <c:ser>
          <c:idx val="0"/>
          <c:order val="0"/>
          <c:tx>
            <c:strRef>
              <c:f>Sheet1!$X$1</c:f>
              <c:strCache>
                <c:ptCount val="1"/>
                <c:pt idx="0">
                  <c:v>Repayments: personal cards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Sheet1!$W$2:$W$24</c:f>
              <c:numCache>
                <c:formatCode>mmm\-yyyy</c:formatCode>
                <c:ptCount val="23"/>
                <c:pt idx="0">
                  <c:v>43708</c:v>
                </c:pt>
                <c:pt idx="1">
                  <c:v>43738</c:v>
                </c:pt>
                <c:pt idx="2">
                  <c:v>43769</c:v>
                </c:pt>
                <c:pt idx="3">
                  <c:v>43799</c:v>
                </c:pt>
                <c:pt idx="4">
                  <c:v>43830</c:v>
                </c:pt>
                <c:pt idx="5">
                  <c:v>43861</c:v>
                </c:pt>
                <c:pt idx="6">
                  <c:v>43890</c:v>
                </c:pt>
                <c:pt idx="7">
                  <c:v>43921</c:v>
                </c:pt>
                <c:pt idx="8">
                  <c:v>43951</c:v>
                </c:pt>
                <c:pt idx="9">
                  <c:v>43982</c:v>
                </c:pt>
                <c:pt idx="10">
                  <c:v>44012</c:v>
                </c:pt>
                <c:pt idx="11">
                  <c:v>44043</c:v>
                </c:pt>
                <c:pt idx="12">
                  <c:v>44074</c:v>
                </c:pt>
                <c:pt idx="13">
                  <c:v>44104</c:v>
                </c:pt>
                <c:pt idx="14">
                  <c:v>44135</c:v>
                </c:pt>
                <c:pt idx="15">
                  <c:v>44165</c:v>
                </c:pt>
                <c:pt idx="16">
                  <c:v>44196</c:v>
                </c:pt>
                <c:pt idx="17">
                  <c:v>44227</c:v>
                </c:pt>
                <c:pt idx="18">
                  <c:v>44255</c:v>
                </c:pt>
                <c:pt idx="19">
                  <c:v>44286</c:v>
                </c:pt>
                <c:pt idx="20">
                  <c:v>44316</c:v>
                </c:pt>
                <c:pt idx="21">
                  <c:v>44347</c:v>
                </c:pt>
                <c:pt idx="22">
                  <c:v>44377</c:v>
                </c:pt>
              </c:numCache>
            </c:numRef>
          </c:cat>
          <c:val>
            <c:numRef>
              <c:f>Sheet1!$X$2:$X$24</c:f>
              <c:numCache>
                <c:formatCode>0.0</c:formatCode>
                <c:ptCount val="23"/>
                <c:pt idx="0">
                  <c:v>23308.426401879999</c:v>
                </c:pt>
                <c:pt idx="1">
                  <c:v>23286.739133890002</c:v>
                </c:pt>
                <c:pt idx="2">
                  <c:v>24224.617658380001</c:v>
                </c:pt>
                <c:pt idx="3">
                  <c:v>22790.914761889999</c:v>
                </c:pt>
                <c:pt idx="4">
                  <c:v>25715.950153199999</c:v>
                </c:pt>
                <c:pt idx="5">
                  <c:v>23618.16737693</c:v>
                </c:pt>
                <c:pt idx="6">
                  <c:v>21403.511615859999</c:v>
                </c:pt>
                <c:pt idx="7">
                  <c:v>23815.713771899998</c:v>
                </c:pt>
                <c:pt idx="8">
                  <c:v>19805.05819009</c:v>
                </c:pt>
                <c:pt idx="9">
                  <c:v>18350.464505759999</c:v>
                </c:pt>
                <c:pt idx="10">
                  <c:v>20680.237523700001</c:v>
                </c:pt>
                <c:pt idx="11">
                  <c:v>22048.19591627</c:v>
                </c:pt>
                <c:pt idx="12">
                  <c:v>20424.53577753</c:v>
                </c:pt>
                <c:pt idx="13">
                  <c:v>20169.231015490001</c:v>
                </c:pt>
                <c:pt idx="14">
                  <c:v>20772.605791229998</c:v>
                </c:pt>
                <c:pt idx="15">
                  <c:v>22297.831652299999</c:v>
                </c:pt>
                <c:pt idx="16">
                  <c:v>24465.023294430001</c:v>
                </c:pt>
                <c:pt idx="17">
                  <c:v>21192.749753780001</c:v>
                </c:pt>
                <c:pt idx="18">
                  <c:v>20085.14250577</c:v>
                </c:pt>
                <c:pt idx="19">
                  <c:v>24212.467855039999</c:v>
                </c:pt>
                <c:pt idx="20">
                  <c:v>22058.126467310001</c:v>
                </c:pt>
                <c:pt idx="21">
                  <c:v>22829.08339145</c:v>
                </c:pt>
                <c:pt idx="22">
                  <c:v>22780.536163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02-4F05-AD0B-89D7B8F782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74483024"/>
        <c:axId val="1474482040"/>
      </c:lineChart>
      <c:dateAx>
        <c:axId val="1699355128"/>
        <c:scaling>
          <c:orientation val="minMax"/>
        </c:scaling>
        <c:delete val="0"/>
        <c:axPos val="b"/>
        <c:numFmt formatCode="mmm\-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99360048"/>
        <c:crosses val="autoZero"/>
        <c:auto val="1"/>
        <c:lblOffset val="100"/>
        <c:baseTimeUnit val="months"/>
      </c:dateAx>
      <c:valAx>
        <c:axId val="1699360048"/>
        <c:scaling>
          <c:orientation val="minMax"/>
          <c:min val="25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dirty="0">
                    <a:solidFill>
                      <a:srgbClr val="7030A0"/>
                    </a:solidFill>
                  </a:rPr>
                  <a:t>Total Balances, mil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99355128"/>
        <c:crosses val="autoZero"/>
        <c:crossBetween val="between"/>
      </c:valAx>
      <c:valAx>
        <c:axId val="1474482040"/>
        <c:scaling>
          <c:orientation val="minMax"/>
          <c:min val="1500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dirty="0">
                    <a:solidFill>
                      <a:srgbClr val="00B0F0"/>
                    </a:solidFill>
                  </a:rPr>
                  <a:t>Repayments, mil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74483024"/>
        <c:crosses val="max"/>
        <c:crossBetween val="between"/>
      </c:valAx>
      <c:dateAx>
        <c:axId val="1474483024"/>
        <c:scaling>
          <c:orientation val="minMax"/>
        </c:scaling>
        <c:delete val="1"/>
        <c:axPos val="b"/>
        <c:numFmt formatCode="mmm\-yyyy" sourceLinked="1"/>
        <c:majorTickMark val="out"/>
        <c:minorTickMark val="none"/>
        <c:tickLblPos val="nextTo"/>
        <c:crossAx val="1474482040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41BF09-1499-40A0-A2BC-D7BF1A1EF102}" type="datetimeFigureOut">
              <a:rPr lang="en-AU" smtClean="0"/>
              <a:t>3/09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00FF6B-DBA3-4C38-AEE5-5A308F86A22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658947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Before I start, I did have a quick review on how the market was doing. This info is obtained from RBA website. I rolled back the time period to last 3 years.</a:t>
            </a:r>
          </a:p>
          <a:p>
            <a:r>
              <a:rPr lang="en-AU" dirty="0"/>
              <a:t>Pretty much looking at 4 different broad metrics. No of cards/accounts, Purchases/Cash Advance Trans Vol, Overseas vs Domestic Trans Vol and lastly Repayment vs Balances.</a:t>
            </a:r>
          </a:p>
          <a:p>
            <a:endParaRPr lang="en-AU" dirty="0"/>
          </a:p>
          <a:p>
            <a:r>
              <a:rPr lang="en-AU" dirty="0"/>
              <a:t>I have summarised in two pointers. </a:t>
            </a:r>
          </a:p>
          <a:p>
            <a:r>
              <a:rPr lang="en-AU" dirty="0"/>
              <a:t>We do see a big hit from COVID since last year. Most metrics are affected and some accelerated to some points.</a:t>
            </a:r>
          </a:p>
          <a:p>
            <a:r>
              <a:rPr lang="en-AU" dirty="0"/>
              <a:t>The other aspect is on no of cards/accounts. It seems the line in Graph 1 has been declining even before COVID.</a:t>
            </a:r>
          </a:p>
          <a:p>
            <a:endParaRPr lang="en-AU" dirty="0"/>
          </a:p>
          <a:p>
            <a:r>
              <a:rPr lang="en-AU" dirty="0"/>
              <a:t>Two possible causes : low acquisition volume and high churn/attrition rate.</a:t>
            </a:r>
          </a:p>
          <a:p>
            <a:r>
              <a:rPr lang="en-AU" dirty="0"/>
              <a:t>This makes me think if there is something I can do around these two metrics to understand what can we do to salvage the situation.</a:t>
            </a:r>
          </a:p>
          <a:p>
            <a:r>
              <a:rPr lang="en-AU" dirty="0"/>
              <a:t>But whatever I was doing, I need to make sure I do have some publicly available dataset to analyse.</a:t>
            </a:r>
          </a:p>
          <a:p>
            <a:endParaRPr lang="en-AU" dirty="0"/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00FF6B-DBA3-4C38-AEE5-5A308F86A224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688050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9E3965E-AC41-4711-9D10-E25ABB132D86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645152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F5DC8C3-BA5F-4EED-BB9A-A14272BD82A1}"/>
              </a:ext>
            </a:extLst>
          </p:cNvPr>
          <p:cNvCxnSpPr/>
          <p:nvPr/>
        </p:nvCxnSpPr>
        <p:spPr>
          <a:xfrm>
            <a:off x="1207658" y="4474741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5CCF1-92C0-4AF3-BFAF-492163191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46A51-0FF4-4A2D-8249-FDE085B062E8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1A78A9-3DFF-4937-A9F2-5D8CF495F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EB271-5CC0-4759-BC6E-8BE53AB22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34375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54D8B55-9EA8-4B81-8E84-9B93B0A275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F0902-5A25-4647-8DE8-52FFF1C3D413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2CA021-2578-47CB-822C-BDDFF7223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4AAB51D-4141-4682-9375-DAFD5FB9D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04659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585C21A-8B93-4657-B5DF-7EAEAD3BE127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90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663440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59DE2C1-4C52-40A3-8959-27B2C1BEBFF6}"/>
              </a:ext>
            </a:extLst>
          </p:cNvPr>
          <p:cNvCxnSpPr/>
          <p:nvPr/>
        </p:nvCxnSpPr>
        <p:spPr>
          <a:xfrm>
            <a:off x="1207658" y="4485132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AF2E137-EC28-48F8-9198-1F0253902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9E8E2A-9B46-4B43-BE31-7371000BE297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9422CD-6F62-4DD6-89EF-07A60B42D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9C6AFF8-42B4-4D05-969B-9F5FB3355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27835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0" y="2120900"/>
            <a:ext cx="4639736" cy="3748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15944" y="2120900"/>
            <a:ext cx="4639736" cy="37481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82D47D-B0DC-4C40-BCC6-BBBA32584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6B6D9-C30C-40A8-B038-A96539A83654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690D34E-7EBD-44B2-83CA-4C126A18D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AC511A1-9BBD-42DE-92FB-2AF44F8E9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3595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2057400"/>
            <a:ext cx="4639736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958274"/>
            <a:ext cx="4639736" cy="29108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15944" y="2057400"/>
            <a:ext cx="4639736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15944" y="2958273"/>
            <a:ext cx="4639736" cy="29108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F8A515-AA94-45D1-9223-5C2272618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6DB22-F1A9-4180-99ED-1138055716FB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052F5BC-98E0-4D60-AD67-9547738B7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38552DC-952E-41EA-AAAF-C2187523C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9257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2073F-158F-44A3-8913-917AFFC1B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14200-9732-4D9B-BBEA-918C0CAA4D17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ED72207-24CA-42B7-A975-2F8E41CBA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01080F2-251A-4B88-9A62-16F46D724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85433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8E9C91B-7EAD-4562-AB0E-DFB9663AECE3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EBD830-091F-4291-8127-E84AD1AA0980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937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6D90D66-BCB9-4229-A829-628874352AC0}"/>
              </a:ext>
            </a:extLst>
          </p:cNvPr>
          <p:cNvSpPr/>
          <p:nvPr/>
        </p:nvSpPr>
        <p:spPr>
          <a:xfrm>
            <a:off x="16" y="0"/>
            <a:ext cx="4654296" cy="68580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466" y="786383"/>
            <a:ext cx="3517567" cy="2093975"/>
          </a:xfrm>
        </p:spPr>
        <p:txBody>
          <a:bodyPr anchor="b">
            <a:normAutofit/>
          </a:bodyPr>
          <a:lstStyle>
            <a:lvl1pPr>
              <a:lnSpc>
                <a:spcPct val="90000"/>
              </a:lnSpc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58984" y="812799"/>
            <a:ext cx="5928344" cy="52947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3465" y="3043050"/>
            <a:ext cx="3517567" cy="3064505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43464" y="6446520"/>
            <a:ext cx="3517568" cy="365125"/>
          </a:xfrm>
        </p:spPr>
        <p:txBody>
          <a:bodyPr/>
          <a:lstStyle>
            <a:lvl1pPr algn="l">
              <a:defRPr/>
            </a:lvl1pPr>
          </a:lstStyle>
          <a:p>
            <a:fld id="{4C508C08-E4CF-4B51-8651-CAA139DF7B08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458983" y="6446520"/>
            <a:ext cx="5334019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1844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A134939-39C0-4522-A125-A13DFDA66490}"/>
              </a:ext>
            </a:extLst>
          </p:cNvPr>
          <p:cNvSpPr/>
          <p:nvPr/>
        </p:nvSpPr>
        <p:spPr>
          <a:xfrm>
            <a:off x="0" y="4578350"/>
            <a:ext cx="12188825" cy="227965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578350"/>
          </a:xfrm>
          <a:solidFill>
            <a:schemeClr val="bg1">
              <a:lumMod val="85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79" y="4799362"/>
            <a:ext cx="10113645" cy="743682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79" y="5715000"/>
            <a:ext cx="10113264" cy="60960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CCB0570-CC97-4A72-9766-D3B71F3BF29D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</p:spPr>
        <p:txBody>
          <a:bodyPr/>
          <a:lstStyle/>
          <a:p>
            <a:pPr algn="l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613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9EFE236-828A-449A-B208-97E833CA0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81364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73" imgH="476" progId="TCLayout.ActiveDocument.1">
                  <p:embed/>
                </p:oleObj>
              </mc:Choice>
              <mc:Fallback>
                <p:oleObj name="think-cell Slide" r:id="rId12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9EFE236-828A-449A-B208-97E833CA0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16A0E3C-60E6-4F39-BC55-5F7C224E1F7C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U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2108201"/>
            <a:ext cx="10058400" cy="3760891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8426" y="6446838"/>
            <a:ext cx="2584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FFFFFF"/>
                </a:solidFill>
              </a:defRPr>
            </a:lvl1pPr>
          </a:lstStyle>
          <a:p>
            <a:fld id="{6C0DB7FF-4656-4FCD-8F73-E64C3EE0BECF}" type="datetime1">
              <a:rPr lang="en-US" smtClean="0"/>
              <a:t>9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cap="all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rgbClr val="FFFFFF"/>
                </a:solidFill>
              </a:defRPr>
            </a:lvl1pPr>
          </a:lstStyle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5025DAC-8B93-4160-B017-3A274A5828C0}"/>
              </a:ext>
            </a:extLst>
          </p:cNvPr>
          <p:cNvCxnSpPr/>
          <p:nvPr/>
        </p:nvCxnSpPr>
        <p:spPr>
          <a:xfrm>
            <a:off x="1193532" y="1897380"/>
            <a:ext cx="996696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603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700" i="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11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1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7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hyperlink" Target="https://www.rba.gov.au/payments-and-infrastructure/resources/payments-data.htm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B191461-649E-4120-B8E3-F6BFE9520A67}"/>
              </a:ext>
            </a:extLst>
          </p:cNvPr>
          <p:cNvSpPr/>
          <p:nvPr/>
        </p:nvSpPr>
        <p:spPr>
          <a:xfrm>
            <a:off x="8730504" y="2758047"/>
            <a:ext cx="816941" cy="67095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endParaRPr lang="en-US" sz="12000" spc="12" baseline="30000" dirty="0">
              <a:solidFill>
                <a:srgbClr val="DA1710"/>
              </a:solidFill>
              <a:latin typeface="Westpac BETA Bold" panose="00000806000000000000" pitchFamily="2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BC81DBE-69FA-4D17-AD78-4F0746FDDB5D}"/>
              </a:ext>
            </a:extLst>
          </p:cNvPr>
          <p:cNvSpPr txBox="1">
            <a:spLocks/>
          </p:cNvSpPr>
          <p:nvPr/>
        </p:nvSpPr>
        <p:spPr>
          <a:xfrm>
            <a:off x="903061" y="2661065"/>
            <a:ext cx="4468321" cy="1148393"/>
          </a:xfrm>
          <a:prstGeom prst="rect">
            <a:avLst/>
          </a:prstGeom>
        </p:spPr>
        <p:txBody>
          <a:bodyPr vert="horz" lIns="43200" tIns="43200" rIns="43200" bIns="43200" rtlCol="0" anchor="ctr"/>
          <a:lstStyle>
            <a:defPPr>
              <a:defRPr lang="en-US"/>
            </a:defPPr>
            <a:lvl1pPr marL="0" algn="l" defTabSz="713232" rtl="0" eaLnBrk="1" latinLnBrk="0" hangingPunct="1">
              <a:defRPr sz="6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AU" sz="6480" b="1">
                <a:solidFill>
                  <a:schemeClr val="bg1"/>
                </a:solidFill>
                <a:latin typeface="Westpac BETA Bold" panose="00000806000000000000"/>
              </a:rPr>
              <a:t>Thank you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52D1B98-24E9-4957-B6BF-5E79359093C8}"/>
              </a:ext>
            </a:extLst>
          </p:cNvPr>
          <p:cNvCxnSpPr>
            <a:cxnSpLocks/>
          </p:cNvCxnSpPr>
          <p:nvPr/>
        </p:nvCxnSpPr>
        <p:spPr>
          <a:xfrm>
            <a:off x="594856" y="930424"/>
            <a:ext cx="3761484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586A76CF-6127-46D2-BE14-097902325886}"/>
              </a:ext>
            </a:extLst>
          </p:cNvPr>
          <p:cNvSpPr txBox="1"/>
          <p:nvPr/>
        </p:nvSpPr>
        <p:spPr>
          <a:xfrm>
            <a:off x="594854" y="-3592"/>
            <a:ext cx="11132089" cy="92333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800" b="1" kern="0" dirty="0"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Credit Card Market Summary Overview</a:t>
            </a:r>
          </a:p>
          <a:p>
            <a:pPr marL="514350" indent="-514350">
              <a:buAutoNum type="arabicPeriod"/>
            </a:pPr>
            <a:r>
              <a:rPr lang="en-US" sz="1600" b="1" kern="0" dirty="0"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Impact from COVID19 </a:t>
            </a:r>
            <a:r>
              <a:rPr lang="en-US" sz="1600" kern="0" dirty="0"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– </a:t>
            </a:r>
            <a:r>
              <a:rPr lang="en-US" sz="1600" b="1" kern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affecting most metrics</a:t>
            </a:r>
            <a:r>
              <a:rPr lang="en-US" sz="1600" kern="0" dirty="0"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: accounts/cards, transactions volume especially overseas &amp; balances</a:t>
            </a:r>
          </a:p>
          <a:p>
            <a:pPr marL="514350" indent="-514350">
              <a:buAutoNum type="arabicPeriod"/>
            </a:pPr>
            <a:r>
              <a:rPr lang="en-US" sz="1600" b="1" kern="0" dirty="0"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Continued area of concern </a:t>
            </a:r>
            <a:r>
              <a:rPr lang="en-US" sz="1600" kern="0" dirty="0"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– accounts / cards on issue (</a:t>
            </a:r>
            <a:r>
              <a:rPr lang="en-US" sz="1600" b="1" kern="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low acquisition + high churn rate</a:t>
            </a:r>
            <a:r>
              <a:rPr lang="en-US" sz="1600" kern="0" dirty="0"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C694EBEF-A6CB-4A1B-99C6-9584DD6BEF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18156"/>
              </p:ext>
            </p:extLst>
          </p:nvPr>
        </p:nvGraphicFramePr>
        <p:xfrm>
          <a:off x="113520" y="953551"/>
          <a:ext cx="5873623" cy="28553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13359631-18B4-4143-B7BA-38175B75725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48388309"/>
              </p:ext>
            </p:extLst>
          </p:nvPr>
        </p:nvGraphicFramePr>
        <p:xfrm>
          <a:off x="6035349" y="953551"/>
          <a:ext cx="5873623" cy="281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D1D63182-00D7-46B3-A4A6-1DCB80D54C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27963438"/>
              </p:ext>
            </p:extLst>
          </p:nvPr>
        </p:nvGraphicFramePr>
        <p:xfrm>
          <a:off x="5864352" y="3727344"/>
          <a:ext cx="6044620" cy="2706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BB6E4344-0AE5-4D35-8E6E-994D3890719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315188"/>
              </p:ext>
            </p:extLst>
          </p:nvPr>
        </p:nvGraphicFramePr>
        <p:xfrm>
          <a:off x="205274" y="3757792"/>
          <a:ext cx="5659078" cy="2645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Oval 14">
            <a:extLst>
              <a:ext uri="{FF2B5EF4-FFF2-40B4-BE49-F238E27FC236}">
                <a16:creationId xmlns:a16="http://schemas.microsoft.com/office/drawing/2014/main" id="{7374C8B3-0072-4506-AC8C-0EBB5E00FE7A}"/>
              </a:ext>
            </a:extLst>
          </p:cNvPr>
          <p:cNvSpPr/>
          <p:nvPr/>
        </p:nvSpPr>
        <p:spPr>
          <a:xfrm>
            <a:off x="2004914" y="1805926"/>
            <a:ext cx="365061" cy="410547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AU" sz="110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9461826-2E89-4D7A-A9B8-6E5077F14137}"/>
              </a:ext>
            </a:extLst>
          </p:cNvPr>
          <p:cNvSpPr/>
          <p:nvPr/>
        </p:nvSpPr>
        <p:spPr>
          <a:xfrm>
            <a:off x="8126962" y="1718122"/>
            <a:ext cx="438539" cy="663090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AU" sz="11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8F1C17B-0422-43EF-AD30-F7F2C46F4ECE}"/>
              </a:ext>
            </a:extLst>
          </p:cNvPr>
          <p:cNvSpPr txBox="1"/>
          <p:nvPr/>
        </p:nvSpPr>
        <p:spPr>
          <a:xfrm>
            <a:off x="9832383" y="-166670"/>
            <a:ext cx="265048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br>
              <a:rPr lang="fr-FR" sz="1200" i="1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fr-FR" sz="1200" b="0" i="1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Source: </a:t>
            </a:r>
            <a:r>
              <a:rPr lang="en-AU" sz="1200" i="1" dirty="0">
                <a:latin typeface="Cambria" panose="02040503050406030204" pitchFamily="18" charset="0"/>
                <a:ea typeface="Cambria" panose="02040503050406030204" pitchFamily="18" charset="0"/>
                <a:hlinkClick r:id="rId7"/>
              </a:rPr>
              <a:t>Payments Statistics | RBA</a:t>
            </a:r>
            <a:endParaRPr lang="en-AU" sz="1200" i="1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0663E57-17B0-43A8-83CE-3996223A63C0}"/>
              </a:ext>
            </a:extLst>
          </p:cNvPr>
          <p:cNvSpPr/>
          <p:nvPr/>
        </p:nvSpPr>
        <p:spPr>
          <a:xfrm>
            <a:off x="8126961" y="4775133"/>
            <a:ext cx="3172410" cy="340410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AU" sz="11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DD5EB27-B7DE-466C-96C4-EE5C047F5AE8}"/>
              </a:ext>
            </a:extLst>
          </p:cNvPr>
          <p:cNvSpPr txBox="1"/>
          <p:nvPr/>
        </p:nvSpPr>
        <p:spPr>
          <a:xfrm>
            <a:off x="753385" y="929840"/>
            <a:ext cx="524523" cy="523220"/>
          </a:xfrm>
          <a:prstGeom prst="rect">
            <a:avLst/>
          </a:prstGeom>
          <a:noFill/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AU" sz="2800" b="1" dirty="0">
                <a:solidFill>
                  <a:schemeClr val="bg2">
                    <a:lumMod val="25000"/>
                  </a:schemeClr>
                </a:solidFill>
                <a:latin typeface="Century" panose="02040604050505020304" pitchFamily="18" charset="0"/>
                <a:cs typeface="Consolas" panose="020B0609020204030204" pitchFamily="49" charset="0"/>
              </a:rPr>
              <a:t>1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5637FBA-5FC9-44B2-BA75-3E39894E00AE}"/>
              </a:ext>
            </a:extLst>
          </p:cNvPr>
          <p:cNvSpPr txBox="1"/>
          <p:nvPr/>
        </p:nvSpPr>
        <p:spPr>
          <a:xfrm>
            <a:off x="6433550" y="919738"/>
            <a:ext cx="524523" cy="523220"/>
          </a:xfrm>
          <a:prstGeom prst="rect">
            <a:avLst/>
          </a:prstGeom>
          <a:noFill/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AU" sz="2800" b="1" dirty="0">
                <a:solidFill>
                  <a:schemeClr val="bg2">
                    <a:lumMod val="25000"/>
                  </a:schemeClr>
                </a:solidFill>
                <a:latin typeface="Century" panose="02040604050505020304" pitchFamily="18" charset="0"/>
                <a:cs typeface="Consolas" panose="020B0609020204030204" pitchFamily="49" charset="0"/>
              </a:rPr>
              <a:t>2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A0F0EB9-AF94-4013-80EA-94FD7A6E015E}"/>
              </a:ext>
            </a:extLst>
          </p:cNvPr>
          <p:cNvSpPr txBox="1"/>
          <p:nvPr/>
        </p:nvSpPr>
        <p:spPr>
          <a:xfrm>
            <a:off x="6433550" y="3677148"/>
            <a:ext cx="524523" cy="523220"/>
          </a:xfrm>
          <a:prstGeom prst="rect">
            <a:avLst/>
          </a:prstGeom>
          <a:noFill/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AU" sz="2800" b="1" dirty="0">
                <a:solidFill>
                  <a:schemeClr val="bg2">
                    <a:lumMod val="25000"/>
                  </a:schemeClr>
                </a:solidFill>
                <a:latin typeface="Century" panose="02040604050505020304" pitchFamily="18" charset="0"/>
                <a:cs typeface="Consolas" panose="020B0609020204030204" pitchFamily="49" charset="0"/>
              </a:rPr>
              <a:t>3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A7BC22B-FAD2-4BD4-8B4C-08FAB910B2FE}"/>
              </a:ext>
            </a:extLst>
          </p:cNvPr>
          <p:cNvSpPr txBox="1"/>
          <p:nvPr/>
        </p:nvSpPr>
        <p:spPr>
          <a:xfrm>
            <a:off x="738879" y="3808874"/>
            <a:ext cx="524523" cy="523220"/>
          </a:xfrm>
          <a:prstGeom prst="rect">
            <a:avLst/>
          </a:prstGeom>
          <a:noFill/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AU" sz="2800" b="1" dirty="0">
                <a:solidFill>
                  <a:schemeClr val="bg2">
                    <a:lumMod val="25000"/>
                  </a:schemeClr>
                </a:solidFill>
                <a:latin typeface="Century" panose="02040604050505020304" pitchFamily="18" charset="0"/>
                <a:cs typeface="Consolas" panose="020B0609020204030204" pitchFamily="49" charset="0"/>
              </a:rPr>
              <a:t>4.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11F85F93-2A53-41C2-9019-25071B8F58A0}"/>
              </a:ext>
            </a:extLst>
          </p:cNvPr>
          <p:cNvCxnSpPr>
            <a:endCxn id="15" idx="7"/>
          </p:cNvCxnSpPr>
          <p:nvPr/>
        </p:nvCxnSpPr>
        <p:spPr>
          <a:xfrm flipH="1">
            <a:off x="2316513" y="1442958"/>
            <a:ext cx="964015" cy="4230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56468994-AE4B-46F4-B908-14A680228FE6}"/>
              </a:ext>
            </a:extLst>
          </p:cNvPr>
          <p:cNvCxnSpPr>
            <a:cxnSpLocks/>
          </p:cNvCxnSpPr>
          <p:nvPr/>
        </p:nvCxnSpPr>
        <p:spPr>
          <a:xfrm flipH="1">
            <a:off x="8565501" y="1218081"/>
            <a:ext cx="2091502" cy="6168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70199E4-4ADE-41C7-BE51-52C87A43F68F}"/>
              </a:ext>
            </a:extLst>
          </p:cNvPr>
          <p:cNvCxnSpPr>
            <a:cxnSpLocks/>
          </p:cNvCxnSpPr>
          <p:nvPr/>
        </p:nvCxnSpPr>
        <p:spPr>
          <a:xfrm flipH="1">
            <a:off x="10444901" y="4046706"/>
            <a:ext cx="712725" cy="7284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612B85B1-7E24-47E2-A8C0-FBADB20031BB}"/>
              </a:ext>
            </a:extLst>
          </p:cNvPr>
          <p:cNvCxnSpPr>
            <a:cxnSpLocks/>
          </p:cNvCxnSpPr>
          <p:nvPr/>
        </p:nvCxnSpPr>
        <p:spPr>
          <a:xfrm>
            <a:off x="2369975" y="4519666"/>
            <a:ext cx="533772" cy="2414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79512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RetrospectVTI">
  <a:themeElements>
    <a:clrScheme name="Custom 34">
      <a:dk1>
        <a:sysClr val="windowText" lastClr="000000"/>
      </a:dk1>
      <a:lt1>
        <a:sysClr val="window" lastClr="FFFFFF"/>
      </a:lt1>
      <a:dk2>
        <a:srgbClr val="39302A"/>
      </a:dk2>
      <a:lt2>
        <a:srgbClr val="E5DEDB"/>
      </a:lt2>
      <a:accent1>
        <a:srgbClr val="EC7016"/>
      </a:accent1>
      <a:accent2>
        <a:srgbClr val="F8931D"/>
      </a:accent2>
      <a:accent3>
        <a:srgbClr val="CE8D3E"/>
      </a:accent3>
      <a:accent4>
        <a:srgbClr val="E64823"/>
      </a:accent4>
      <a:accent5>
        <a:srgbClr val="FFCA08"/>
      </a:accent5>
      <a:accent6>
        <a:srgbClr val="9C6A6A"/>
      </a:accent6>
      <a:hlink>
        <a:srgbClr val="2998E3"/>
      </a:hlink>
      <a:folHlink>
        <a:srgbClr val="7F723D"/>
      </a:folHlink>
    </a:clrScheme>
    <a:fontScheme name="Retrospect">
      <a:majorFont>
        <a:latin typeface="Bookman Old Style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Franklin Gothic Book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VTI" id="{ABE3C30C-0FC0-4450-828E-52DE70F1BCCB}" vid="{A6E2497D-935A-4CFD-B9FD-6DCB15FA68B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410dd7f93c95333ffa1b60ed6adedd1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a936d9baba76aa3866493feff160faab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03EEFF0-FB57-4CB4-8BFC-DF397689E2ED}">
  <ds:schemaRefs>
    <ds:schemaRef ds:uri="http://purl.org/dc/elements/1.1/"/>
    <ds:schemaRef ds:uri="http://schemas.microsoft.com/office/2006/metadata/properties"/>
    <ds:schemaRef ds:uri="http://purl.org/dc/terms/"/>
    <ds:schemaRef ds:uri="16c05727-aa75-4e4a-9b5f-8a80a1165891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71af3243-3dd4-4a8d-8c0d-dd76da1f02a5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A3F7EDC-E5B4-4BBC-9D2A-CBE6D46C37A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3932EF5-314F-409E-8020-FEE5FA0795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{7EF9D735-5188-4A94-8EB3-146904B172BE}tf22712842_win32</Template>
  <TotalTime>4003</TotalTime>
  <Words>335</Words>
  <Application>Microsoft Office PowerPoint</Application>
  <PresentationFormat>Widescreen</PresentationFormat>
  <Paragraphs>3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Bookman Old Style</vt:lpstr>
      <vt:lpstr>Calibri</vt:lpstr>
      <vt:lpstr>Cambria</vt:lpstr>
      <vt:lpstr>Century</vt:lpstr>
      <vt:lpstr>Franklin Gothic Book</vt:lpstr>
      <vt:lpstr>Westpac BETA Bold</vt:lpstr>
      <vt:lpstr>1_RetrospectVTI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dit Card Churn</dc:title>
  <dc:creator>Chow, Daniel</dc:creator>
  <cp:lastModifiedBy>Chow, Daniel</cp:lastModifiedBy>
  <cp:revision>1</cp:revision>
  <cp:lastPrinted>2021-08-30T06:10:18Z</cp:lastPrinted>
  <dcterms:created xsi:type="dcterms:W3CDTF">2021-08-25T09:15:54Z</dcterms:created>
  <dcterms:modified xsi:type="dcterms:W3CDTF">2021-09-03T05:40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SIP_Label_6555cfae-cb2a-4680-b088-01ee30167f3b_Enabled">
    <vt:lpwstr>true</vt:lpwstr>
  </property>
  <property fmtid="{D5CDD505-2E9C-101B-9397-08002B2CF9AE}" pid="4" name="MSIP_Label_6555cfae-cb2a-4680-b088-01ee30167f3b_SetDate">
    <vt:lpwstr>2021-08-25T09:15:55Z</vt:lpwstr>
  </property>
  <property fmtid="{D5CDD505-2E9C-101B-9397-08002B2CF9AE}" pid="5" name="MSIP_Label_6555cfae-cb2a-4680-b088-01ee30167f3b_Method">
    <vt:lpwstr>Standard</vt:lpwstr>
  </property>
  <property fmtid="{D5CDD505-2E9C-101B-9397-08002B2CF9AE}" pid="6" name="MSIP_Label_6555cfae-cb2a-4680-b088-01ee30167f3b_Name">
    <vt:lpwstr>General Business</vt:lpwstr>
  </property>
  <property fmtid="{D5CDD505-2E9C-101B-9397-08002B2CF9AE}" pid="7" name="MSIP_Label_6555cfae-cb2a-4680-b088-01ee30167f3b_SiteId">
    <vt:lpwstr>57c64fd4-66ca-49f5-ab38-2e67ef58e724</vt:lpwstr>
  </property>
  <property fmtid="{D5CDD505-2E9C-101B-9397-08002B2CF9AE}" pid="8" name="MSIP_Label_6555cfae-cb2a-4680-b088-01ee30167f3b_ActionId">
    <vt:lpwstr>8d492d40-f653-43eb-9c53-de4ab0b96a43</vt:lpwstr>
  </property>
  <property fmtid="{D5CDD505-2E9C-101B-9397-08002B2CF9AE}" pid="9" name="MSIP_Label_6555cfae-cb2a-4680-b088-01ee30167f3b_ContentBits">
    <vt:lpwstr>0</vt:lpwstr>
  </property>
</Properties>
</file>